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4050" r:id="rId4"/>
    <p:sldMasterId id="2147484057" r:id="rId5"/>
    <p:sldMasterId id="2147484059" r:id="rId6"/>
  </p:sldMasterIdLst>
  <p:notesMasterIdLst>
    <p:notesMasterId r:id="rId38"/>
  </p:notesMasterIdLst>
  <p:handoutMasterIdLst>
    <p:handoutMasterId r:id="rId39"/>
  </p:handoutMasterIdLst>
  <p:sldIdLst>
    <p:sldId id="654" r:id="rId7"/>
    <p:sldId id="7414" r:id="rId8"/>
    <p:sldId id="7415" r:id="rId9"/>
    <p:sldId id="7440" r:id="rId10"/>
    <p:sldId id="1504" r:id="rId11"/>
    <p:sldId id="7282" r:id="rId12"/>
    <p:sldId id="1341" r:id="rId13"/>
    <p:sldId id="1503" r:id="rId14"/>
    <p:sldId id="7410" r:id="rId15"/>
    <p:sldId id="1521" r:id="rId16"/>
    <p:sldId id="482" r:id="rId17"/>
    <p:sldId id="1518" r:id="rId18"/>
    <p:sldId id="1515" r:id="rId19"/>
    <p:sldId id="7448" r:id="rId20"/>
    <p:sldId id="7450" r:id="rId21"/>
    <p:sldId id="651" r:id="rId22"/>
    <p:sldId id="2147377031" r:id="rId23"/>
    <p:sldId id="7449" r:id="rId24"/>
    <p:sldId id="2147377083" r:id="rId25"/>
    <p:sldId id="7428" r:id="rId26"/>
    <p:sldId id="1490" r:id="rId27"/>
    <p:sldId id="7429" r:id="rId28"/>
    <p:sldId id="1524" r:id="rId29"/>
    <p:sldId id="1529" r:id="rId30"/>
    <p:sldId id="914" r:id="rId31"/>
    <p:sldId id="1532" r:id="rId32"/>
    <p:sldId id="1530" r:id="rId33"/>
    <p:sldId id="7292" r:id="rId34"/>
    <p:sldId id="1368" r:id="rId35"/>
    <p:sldId id="2147377036" r:id="rId36"/>
    <p:sldId id="7409" r:id="rId37"/>
  </p:sldIdLst>
  <p:sldSz cx="10693400" cy="7561263"/>
  <p:notesSz cx="6797675" cy="9926638"/>
  <p:custDataLst>
    <p:tags r:id="rId40"/>
  </p:custDataLst>
  <p:defaultTextStyle>
    <a:defPPr>
      <a:defRPr/>
    </a:defPPr>
    <a:lvl1pPr marL="0" algn="l" defTabSz="96624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3123" algn="l" defTabSz="96624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6246" algn="l" defTabSz="96624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9370" algn="l" defTabSz="96624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32493" algn="l" defTabSz="96624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15616" algn="l" defTabSz="96624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98739" algn="l" defTabSz="96624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81863" algn="l" defTabSz="96624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64986" algn="l" defTabSz="96624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368">
          <p15:clr>
            <a:srgbClr val="A4A3A4"/>
          </p15:clr>
        </p15:guide>
        <p15:guide id="4" orient="horz" pos="238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1" userDrawn="1">
          <p15:clr>
            <a:srgbClr val="A4A3A4"/>
          </p15:clr>
        </p15:guide>
        <p15:guide id="2" pos="2073" userDrawn="1">
          <p15:clr>
            <a:srgbClr val="A4A3A4"/>
          </p15:clr>
        </p15:guide>
        <p15:guide id="3" orient="horz" pos="3126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4404A"/>
    <a:srgbClr val="404040"/>
    <a:srgbClr val="F1F3F5"/>
    <a:srgbClr val="E9ECEF"/>
    <a:srgbClr val="FFFFFF"/>
    <a:srgbClr val="5FB564"/>
    <a:srgbClr val="F59C00"/>
    <a:srgbClr val="E0E5E9"/>
    <a:srgbClr val="B2BD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FAE3CE-AD32-471B-A4BC-22A949FF67D2}" v="5" dt="2022-11-22T14:47:31.912"/>
  </p1510:revLst>
</p1510:revInfo>
</file>

<file path=ppt/tableStyles.xml><?xml version="1.0" encoding="utf-8"?>
<a:tblStyleLst xmlns:a="http://schemas.openxmlformats.org/drawingml/2006/main" def="{00A15C55-8517-42AA-B614-E9B94910E393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0C39586-5B81-4BD1-9A10-DDBA0A573563}" styleName="70c39586-5b81-4bd1-9a10-ddba0a57356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EE8E5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2CAE3"/>
              </a:solidFill>
            </a:ln>
          </a:top>
          <a:bottom>
            <a:ln w="28575" cmpd="sng">
              <a:solidFill>
                <a:srgbClr val="62CAE3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62CAE3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4E016A3-6D29-4374-A678-8EEC8BEFDD47}" styleName="14e016a3-6d29-4374-a678-8eec8befdd47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62CAE3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noFill/>
        </a:fill>
      </a:tcStyle>
    </a:seCell>
    <a:swCell>
      <a:tcStyle>
        <a:tcBdr/>
        <a:fill>
          <a:noFill/>
        </a:fill>
      </a:tcStyle>
    </a:swCell>
    <a:fir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rgbClr val="62CAE3"/>
          </a:solidFill>
        </a:fill>
      </a:tcStyle>
    </a:firstRow>
    <a:neCell>
      <a:tcStyle>
        <a:tcBdr>
          <a:left>
            <a:ln w="1270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  <a:fill>
          <a:solidFill>
            <a:srgbClr val="62CAE3"/>
          </a:solidFill>
        </a:fill>
      </a:tcStyle>
    </a:neCell>
    <a:nwCell>
      <a:tcStyle>
        <a:tcBdr>
          <a:right>
            <a:ln w="1270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62CAE3"/>
          </a:solidFill>
        </a:fill>
      </a:tcStyle>
    </a:nwCell>
  </a:tblStyle>
  <a:tblStyle styleId="{8937EE4D-2136-401B-AA2C-867C3CEFB8F2}" styleName="8937ee4d-2136-401b-aa2c-867c3cefb8f2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62CAE3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noFill/>
        </a:fill>
      </a:tcStyle>
    </a:seCell>
    <a:swCell>
      <a:tcStyle>
        <a:tcBdr/>
        <a:fill>
          <a:noFill/>
        </a:fill>
      </a:tcStyle>
    </a:swCell>
    <a:fir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rgbClr val="62CAE3"/>
          </a:solidFill>
        </a:fill>
      </a:tcStyle>
    </a:firstRow>
    <a:neCell>
      <a:tcStyle>
        <a:tcBdr>
          <a:left>
            <a:ln w="1270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  <a:fill>
          <a:solidFill>
            <a:srgbClr val="62CAE3"/>
          </a:solidFill>
        </a:fill>
      </a:tcStyle>
    </a:neCell>
    <a:nwCell>
      <a:tcStyle>
        <a:tcBdr>
          <a:right>
            <a:ln w="1270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62CAE3"/>
          </a:solidFill>
        </a:fill>
      </a:tcStyle>
    </a:nwCell>
  </a:tblStyle>
  <a:tblStyle styleId="{532F6EEF-D6FD-40A3-AF0A-64185CD84F84}" styleName="532f6eef-d6fd-40a3-af0a-64185cd84f84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>
          <a:insideV>
            <a:ln w="12700" cmpd="sng">
              <a:solidFill>
                <a:srgbClr val="FFFFFF"/>
              </a:solidFill>
            </a:ln>
          </a:insideV>
        </a:tcBdr>
        <a:fill>
          <a:gradFill flip="none" rotWithShape="1">
            <a:gsLst>
              <a:gs pos="0">
                <a:srgbClr val="EEE8E5">
                  <a:lumMod val="100000"/>
                  <a:alpha val="65000"/>
                </a:srgbClr>
              </a:gs>
              <a:gs pos="100000">
                <a:srgbClr val="EEE8E5">
                  <a:lumMod val="100000"/>
                  <a:alpha val="65000"/>
                </a:srgbClr>
              </a:gs>
            </a:gsLst>
            <a:lin ang="0" scaled="1"/>
            <a:tileRect/>
          </a:gra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noFill/>
        </a:fill>
      </a:tcStyle>
    </a:seCell>
    <a:swCell>
      <a:tcStyle>
        <a:tcBdr>
          <a:bottom>
            <a:ln>
              <a:noFill/>
            </a:ln>
          </a:bottom>
        </a:tcBdr>
        <a:fill>
          <a:noFill/>
        </a:fill>
      </a:tcStyle>
    </a:swCell>
    <a:fir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rgbClr val="62CAE3"/>
          </a:solidFill>
        </a:fill>
      </a:tcStyle>
    </a:firstRow>
    <a:neCell>
      <a:tcStyle>
        <a:tcBdr>
          <a:left>
            <a:ln w="1270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  <a:fill>
          <a:solidFill>
            <a:srgbClr val="62CAE3"/>
          </a:solidFill>
        </a:fill>
      </a:tcStyle>
    </a:neCell>
    <a:nwCell>
      <a:tcStyle>
        <a:tcBdr>
          <a:right>
            <a:ln w="1270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62CAE3"/>
          </a:solidFill>
        </a:fill>
      </a:tcStyle>
    </a:nwCell>
  </a:tblStyle>
  <a:tblStyle styleId="{AFD8F6F0-7A7B-40AF-AA7A-266AE3819AC9}" styleName="afd8f6f0-7a7b-40af-aa7a-266ae3819ac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EE8E5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EE8E5"/>
              </a:solidFill>
            </a:ln>
          </a:top>
          <a:bottom>
            <a:ln w="12700" cmpd="sng">
              <a:solidFill>
                <a:srgbClr val="62CAE3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noFill/>
        </a:fill>
      </a:tcStyle>
    </a:seCell>
    <a:swCell>
      <a:tcStyle>
        <a:tcBdr/>
        <a:fill>
          <a:noFill/>
        </a:fill>
      </a:tcStyle>
    </a:swCell>
    <a:fir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rgbClr val="62CAE3"/>
          </a:solidFill>
        </a:fill>
      </a:tcStyle>
    </a:firstRow>
    <a:neCell>
      <a:tcStyle>
        <a:tcBdr>
          <a:left>
            <a:ln w="1270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  <a:fill>
          <a:solidFill>
            <a:srgbClr val="62CAE3"/>
          </a:solidFill>
        </a:fill>
      </a:tcStyle>
    </a:neCell>
    <a:nwCell>
      <a:tcStyle>
        <a:tcBdr>
          <a:right>
            <a:ln w="1270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62CAE3"/>
          </a:solidFill>
        </a:fill>
      </a:tcStyle>
    </a:nwCell>
  </a:tblStyle>
  <a:tblStyle styleId="{5277C0A9-A86D-415E-8D12-23F135F929D1}" styleName="5277c0a9-a86d-415e-8d12-23f135f929d1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>
          <a:insideV>
            <a:ln w="12700" cmpd="sng">
              <a:solidFill>
                <a:srgbClr val="FFFFFF"/>
              </a:solidFill>
            </a:ln>
          </a:insideV>
        </a:tcBdr>
        <a:fill>
          <a:gradFill flip="none" rotWithShape="1">
            <a:gsLst>
              <a:gs pos="0">
                <a:srgbClr val="EEE8E5">
                  <a:lumMod val="100000"/>
                  <a:alpha val="65000"/>
                </a:srgbClr>
              </a:gs>
              <a:gs pos="100000">
                <a:srgbClr val="EEE8E5">
                  <a:lumMod val="100000"/>
                  <a:alpha val="65000"/>
                </a:srgbClr>
              </a:gs>
            </a:gsLst>
            <a:lin ang="0" scaled="1"/>
            <a:tileRect/>
          </a:gra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noFill/>
        </a:fill>
      </a:tcStyle>
    </a:seCell>
    <a:swCell>
      <a:tcStyle>
        <a:tcBdr/>
        <a:fill>
          <a:noFill/>
        </a:fill>
      </a:tcStyle>
    </a:swCell>
    <a:fir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left>
            <a:ln w="1270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270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B4C5B7A3-5A1A-48FE-9939-7EEEAD10B329}" styleName="b4c5b7a3-5a1a-48fe-9939-7eeead10b32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gradFill flip="none" rotWithShape="1">
            <a:gsLst>
              <a:gs pos="0">
                <a:srgbClr val="EEE8E5">
                  <a:lumMod val="100000"/>
                  <a:alpha val="65000"/>
                </a:srgbClr>
              </a:gs>
              <a:gs pos="100000">
                <a:srgbClr val="EEE8E5">
                  <a:lumMod val="100000"/>
                  <a:alpha val="65000"/>
                </a:srgbClr>
              </a:gs>
            </a:gsLst>
            <a:lin ang="0" scaled="1"/>
            <a:tileRect/>
          </a:gra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gradFill flip="none" rotWithShape="1">
            <a:gsLst>
              <a:gs pos="0">
                <a:srgbClr val="EEE8E5">
                  <a:lumMod val="100000"/>
                  <a:alpha val="65000"/>
                </a:srgbClr>
              </a:gs>
              <a:gs pos="100000">
                <a:srgbClr val="EEE8E5">
                  <a:lumMod val="100000"/>
                  <a:alpha val="65000"/>
                </a:srgbClr>
              </a:gs>
            </a:gsLst>
            <a:lin ang="0" scaled="1"/>
            <a:tileRect/>
          </a:gradFill>
        </a:fill>
      </a:tcStyle>
    </a:seCell>
    <a:swCell>
      <a:tcStyle>
        <a:tcBdr/>
        <a:fill>
          <a:gradFill flip="none" rotWithShape="1">
            <a:gsLst>
              <a:gs pos="0">
                <a:srgbClr val="EEE8E5">
                  <a:lumMod val="100000"/>
                  <a:alpha val="65000"/>
                </a:srgbClr>
              </a:gs>
              <a:gs pos="100000">
                <a:srgbClr val="EEE8E5">
                  <a:lumMod val="100000"/>
                  <a:alpha val="65000"/>
                </a:srgbClr>
              </a:gs>
            </a:gsLst>
            <a:lin ang="0" scaled="1"/>
            <a:tileRect/>
          </a:gra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B4A8A2"/>
          </a:solidFill>
        </a:fill>
      </a:tcStyle>
    </a:firstRow>
    <a:ne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B4A8A2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B4A8A2"/>
          </a:solidFill>
        </a:fill>
      </a:tcStyle>
    </a:nwCell>
  </a:tblStyle>
  <a:tblStyle styleId="{717DEA39-331E-45CA-8908-E82E70792246}" styleName="717dea39-331e-45ca-8908-e82e70792246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gradFill flip="none" rotWithShape="1">
            <a:gsLst>
              <a:gs pos="0">
                <a:srgbClr val="EEE8E5">
                  <a:lumMod val="100000"/>
                  <a:alpha val="65000"/>
                </a:srgbClr>
              </a:gs>
              <a:gs pos="100000">
                <a:srgbClr val="EEE8E5">
                  <a:lumMod val="100000"/>
                  <a:alpha val="65000"/>
                </a:srgbClr>
              </a:gs>
            </a:gsLst>
            <a:lin ang="0" scaled="1"/>
            <a:tileRect/>
          </a:gra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AD86CF77-E7B7-43A5-ACB2-6B0C387FC41E}" styleName="ad86cf77-e7b7-43a5-acb2-6b0c387fc41e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EE8E5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EE8E5"/>
              </a:solidFill>
            </a:ln>
          </a:top>
          <a:bottom>
            <a:ln w="12700" cmpd="sng">
              <a:solidFill>
                <a:srgbClr val="685040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685040"/>
          </a:solidFill>
        </a:fill>
      </a:tcStyle>
    </a:firstRow>
    <a:neCell>
      <a:tcStyle>
        <a:tcBdr/>
        <a:fill>
          <a:solidFill>
            <a:srgbClr val="685040"/>
          </a:solidFill>
        </a:fill>
      </a:tcStyle>
    </a:neCell>
    <a:nwCell>
      <a:tcStyle>
        <a:tcBdr/>
        <a:fill>
          <a:solidFill>
            <a:srgbClr val="685040"/>
          </a:solidFill>
        </a:fill>
      </a:tcStyle>
    </a:nwCell>
  </a:tblStyle>
  <a:tblStyle styleId="{89EA253E-6763-4681-BF50-070D1165AA49}" styleName="89ea253e-6763-4681-bf50-070d1165aa4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>
          <a:insideV>
            <a:ln w="12700" cmpd="sng">
              <a:solidFill>
                <a:srgbClr val="FFFFFF"/>
              </a:solidFill>
            </a:ln>
          </a:insideV>
        </a:tcBdr>
        <a:fill>
          <a:gradFill flip="none" rotWithShape="1">
            <a:gsLst>
              <a:gs pos="0">
                <a:srgbClr val="EEE8E5">
                  <a:lumMod val="100000"/>
                  <a:alpha val="65000"/>
                </a:srgbClr>
              </a:gs>
              <a:gs pos="100000">
                <a:srgbClr val="EEE8E5">
                  <a:lumMod val="100000"/>
                  <a:alpha val="65000"/>
                </a:srgbClr>
              </a:gs>
            </a:gsLst>
            <a:lin ang="0" scaled="1"/>
            <a:tileRect/>
          </a:gra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F7FFF4B5-9BCA-4534-86FF-2D7ED0257EB9}" styleName="f7fff4b5-9bca-4534-86ff-2d7ed0257eb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EE8E5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EE8E5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22D7EAFB-549D-4C36-8569-99B6C77BB889}" styleName="22d7eafb-549d-4c36-8569-99b6c77bb88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ED1A3B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303AB34F-A368-454B-B529-57D566F4F303}" styleName="303ab34f-a368-454b-b529-57d566f4f30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EE8E5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D1A3B"/>
              </a:solidFill>
            </a:ln>
          </a:top>
          <a:bottom>
            <a:ln w="28575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4A8A9CA6-12EB-4BD9-B7C3-A7B12E4D9483}" styleName="4a8a9ca6-12eb-4bd9-b7c3-a7b12e4d948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D1A3B"/>
              </a:solidFill>
            </a:ln>
          </a:top>
          <a:bottom>
            <a:ln w="28575" cmpd="sng">
              <a:solidFill>
                <a:srgbClr val="ED1A3B"/>
              </a:solidFill>
            </a:ln>
          </a:bottom>
        </a:tcBdr>
      </a:tcStyle>
    </a:lastRow>
    <a:seCell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3E2726FE-BC4F-4126-941F-1C934F202A18}" styleName="3e2726fe-bc4f-4126-941f-1c934f202a18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>
          <a:insideH>
            <a:ln>
              <a:noFill/>
            </a:ln>
          </a:insideH>
        </a:tcBdr>
        <a:fill>
          <a:solidFill>
            <a:srgbClr val="EFEDEB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211B4C08-E310-46EC-8C72-5FBB60C4E091}" styleName="211b4c08-e310-46ec-8c72-5fbb60c4e091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>
          <a:insideH>
            <a:ln>
              <a:noFill/>
            </a:ln>
          </a:insideH>
        </a:tcBdr>
        <a:fill>
          <a:solidFill>
            <a:srgbClr val="EFEDEB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90F1F930-3E79-4E16-8489-B563E5D39057}" styleName="90f1f930-3e79-4e16-8489-b563e5d39057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>
          <a:insideV>
            <a:ln w="12700" cmpd="sng">
              <a:solidFill>
                <a:srgbClr val="FFFFFF"/>
              </a:solidFill>
            </a:ln>
          </a:insideV>
        </a:tcBdr>
        <a:fill>
          <a:solidFill>
            <a:srgbClr val="EFEDEB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6E8ECB8D-EB43-4A67-AC97-F1C5DFCCD7FD}" styleName="6e8ecb8d-eb43-4a67-ac97-f1c5dfccd7fd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FEDEB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  <a:fill>
          <a:solidFill>
            <a:srgbClr val="EFEDEB"/>
          </a:solidFill>
        </a:fill>
      </a:tcStyle>
    </a:seCell>
    <a:swCell>
      <a:tcStyle>
        <a:tcBdr/>
        <a:fill>
          <a:solidFill>
            <a:srgbClr val="EFEDEB"/>
          </a:solidFill>
        </a:fill>
      </a:tcStyle>
    </a:swCell>
    <a:firstRow>
      <a:tcStyle>
        <a:tcBdr/>
        <a:fill>
          <a:solidFill>
            <a:srgbClr val="B4A8A2"/>
          </a:solidFill>
        </a:fill>
      </a:tcStyle>
    </a:firstRow>
    <a:neCell>
      <a:tcStyle>
        <a:tcBdr/>
        <a:fill>
          <a:solidFill>
            <a:srgbClr val="B4A8A2"/>
          </a:solidFill>
        </a:fill>
      </a:tcStyle>
    </a:neCell>
    <a:nwCell>
      <a:tcStyle>
        <a:tcBdr/>
        <a:fill>
          <a:solidFill>
            <a:srgbClr val="B4A8A2"/>
          </a:solidFill>
        </a:fill>
      </a:tcStyle>
    </a:nwCell>
  </a:tblStyle>
  <a:tblStyle styleId="{4F8307DA-5B6E-4DF6-9A5D-6A9F1A8B3EC8}" styleName="4f8307da-5b6e-4df6-9a5d-6a9f1a8b3ec8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EE8E5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>
          <a:right>
            <a:ln w="19050" cmpd="sng">
              <a:solidFill>
                <a:srgbClr val="FFFFFF"/>
              </a:solidFill>
            </a:ln>
          </a:right>
          <a:insideH>
            <a:ln w="19050" cmpd="sng">
              <a:solidFill>
                <a:srgbClr val="FFFFFF"/>
              </a:solidFill>
            </a:ln>
          </a:insideH>
        </a:tcBdr>
        <a:fill>
          <a:solidFill>
            <a:srgbClr val="B4A8A2"/>
          </a:solidFill>
        </a:fill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EE8E5"/>
              </a:solidFill>
            </a:ln>
          </a:top>
          <a:bottom>
            <a:ln w="12700" cmpd="sng">
              <a:solidFill>
                <a:srgbClr val="EEE8E5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>
          <a:top>
            <a:ln>
              <a:noFill/>
            </a:ln>
          </a:top>
          <a:bottom>
            <a:ln w="19050" cmpd="sng">
              <a:solidFill>
                <a:srgbClr val="FFFFFF"/>
              </a:solidFill>
            </a:ln>
          </a:bottom>
        </a:tcBdr>
        <a:fill>
          <a:solidFill>
            <a:srgbClr val="B4A8A2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EEE8E5"/>
              </a:solidFill>
            </a:ln>
          </a:top>
          <a:bottom>
            <a:ln w="12700" cmpd="sng">
              <a:solidFill>
                <a:srgbClr val="EEE8E5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>
          <a:top>
            <a:ln>
              <a:noFill/>
            </a:ln>
          </a:top>
          <a:bottom>
            <a:ln w="19050" cmpd="sng">
              <a:solidFill>
                <a:srgbClr val="FFFFFF"/>
              </a:solidFill>
            </a:ln>
          </a:bottom>
        </a:tcBdr>
        <a:fill>
          <a:solidFill>
            <a:srgbClr val="B4A8A2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F517AA04-5AC4-481E-9E8E-A7782CD945CC}" styleName="f517aa04-5ac4-481e-9e8e-a7782cd945cc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FEDEB"/>
          </a:solidFill>
        </a:fill>
      </a:tcStyle>
    </a:wholeTbl>
    <a:band2H>
      <a:tcStyle>
        <a:tcBdr/>
      </a:tcStyle>
    </a:band2H>
    <a:la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FEDEB"/>
          </a:solidFill>
        </a:fill>
      </a:tcStyle>
    </a:seCell>
    <a:swCell>
      <a:tcStyle>
        <a:tcBdr/>
        <a:fill>
          <a:solidFill>
            <a:srgbClr val="EFEDEB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>
          <a:left>
            <a:ln w="19050" cmpd="sng">
              <a:solidFill>
                <a:srgbClr val="FFFFFF"/>
              </a:solidFill>
            </a:ln>
          </a:left>
        </a:tcBdr>
        <a:fill>
          <a:solidFill>
            <a:srgbClr val="ED1A3B"/>
          </a:solidFill>
        </a:fill>
      </a:tcStyle>
    </a:neCell>
    <a:nwCell>
      <a:tcStyle>
        <a:tcBdr>
          <a:left>
            <a:ln>
              <a:noFill/>
            </a:ln>
          </a:left>
        </a:tcBdr>
        <a:fill>
          <a:solidFill>
            <a:srgbClr val="ED1A3B"/>
          </a:solidFill>
        </a:fill>
      </a:tcStyle>
    </a:nwCell>
  </a:tblStyle>
  <a:tblStyle styleId="{A1C87AEE-F5D4-427A-9F7C-E39F5BB4E709}" styleName="a1c87aee-f5d4-427a-9f7c-e39f5bb4e70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FEDEB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FEDEB"/>
          </a:solidFill>
        </a:fill>
      </a:tcStyle>
    </a:seCell>
    <a:swCell>
      <a:tcStyle>
        <a:tcBdr/>
        <a:fill>
          <a:solidFill>
            <a:srgbClr val="EFEDEB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79D23ABB-CAD5-4FF3-99AD-20FDFBBFB2B1}" styleName="79d23abb-cad5-4ff3-99ad-20fdfbbfb2b1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FEDEB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FEDEB"/>
          </a:solidFill>
        </a:fill>
      </a:tcStyle>
    </a:seCell>
    <a:swCell>
      <a:tcStyle>
        <a:tcBdr/>
        <a:fill>
          <a:solidFill>
            <a:srgbClr val="EFEDEB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>
          <a:left>
            <a:ln>
              <a:noFill/>
            </a:ln>
          </a:left>
        </a:tcBdr>
        <a:fill>
          <a:solidFill>
            <a:srgbClr val="ED1A3B"/>
          </a:solidFill>
        </a:fill>
      </a:tcStyle>
    </a:nwCell>
  </a:tblStyle>
  <a:tblStyle styleId="{92252372-E0AB-487B-B34F-005089774C55}" styleName="92252372-e0ab-487b-b34f-005089774c55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FEDEB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FEDEB"/>
          </a:solidFill>
        </a:fill>
      </a:tcStyle>
    </a:seCell>
    <a:swCell>
      <a:tcStyle>
        <a:tcBdr/>
        <a:fill>
          <a:solidFill>
            <a:srgbClr val="EFEDEB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B29ED8E3-CCA6-4FC9-B4A9-81ABB0289243}" styleName="b29ed8e3-cca6-4fc9-b4a9-81abb028924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FEDEB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FEDEB"/>
          </a:solidFill>
        </a:fill>
      </a:tcStyle>
    </a:seCell>
    <a:swCell>
      <a:tcStyle>
        <a:tcBdr/>
        <a:fill>
          <a:solidFill>
            <a:srgbClr val="EFEDEB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46BB5BDA-8CFA-4E0B-B0A9-4D98373BE9D9}" styleName="46bb5bda-8cfa-4e0b-b0a9-4d98373be9d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FEDEB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FEDEB"/>
          </a:solidFill>
        </a:fill>
      </a:tcStyle>
    </a:seCell>
    <a:swCell>
      <a:tcStyle>
        <a:tcBdr/>
        <a:fill>
          <a:solidFill>
            <a:srgbClr val="EFEDEB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7DE3D1F7-D0F6-4B1E-B880-44F9AD370704}" styleName="7de3d1f7-d0f6-4b1e-b880-44f9ad370704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CFCFC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  <a:fill>
          <a:solidFill>
            <a:srgbClr val="CFCFCF"/>
          </a:solidFill>
        </a:fill>
      </a:tcStyle>
    </a:seCell>
    <a:swCell>
      <a:tcStyle>
        <a:tcBdr/>
        <a:fill>
          <a:solidFill>
            <a:srgbClr val="CFCFCF"/>
          </a:solidFill>
        </a:fill>
      </a:tcStyle>
    </a:swCell>
    <a:firstRow>
      <a:tcStyle>
        <a:tcBdr/>
        <a:fill>
          <a:solidFill>
            <a:srgbClr val="6F6F6F"/>
          </a:solidFill>
        </a:fill>
      </a:tcStyle>
    </a:firstRow>
    <a:neCell>
      <a:tcStyle>
        <a:tcBdr/>
        <a:fill>
          <a:solidFill>
            <a:srgbClr val="6F6F6F"/>
          </a:solidFill>
        </a:fill>
      </a:tcStyle>
    </a:neCell>
    <a:nwCell>
      <a:tcStyle>
        <a:tcBdr/>
        <a:fill>
          <a:solidFill>
            <a:srgbClr val="6F6F6F"/>
          </a:solidFill>
        </a:fill>
      </a:tcStyle>
    </a:nwCell>
  </a:tblStyle>
  <a:tblStyle styleId="{E9C0D8C3-C0CB-4D88-A8AB-D75CB9702535}" styleName="e9c0d8c3-c0cb-4d88-a8ab-d75cb9702535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E7E7E7"/>
          </a:solidFill>
        </a:fill>
      </a:tcStyle>
    </a:neCell>
    <a:nwCell>
      <a:tcStyle>
        <a:tcBdr/>
        <a:fill>
          <a:solidFill>
            <a:srgbClr val="E7E7E7"/>
          </a:solidFill>
        </a:fill>
      </a:tcStyle>
    </a:nwCell>
  </a:tblStyle>
  <a:tblStyle styleId="{5ACE5033-2E41-40AD-91AD-03F842CB964F}" styleName="5ace5033-2e41-40ad-91ad-03f842cb964f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insideH>
            <a:ln>
              <a:noFill/>
            </a:ln>
          </a:insideH>
        </a:tcBdr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61357BEA-280F-4A20-A5BB-7B4794EF57BC}" styleName="61357bea-280f-4a20-a5bb-7b4794ef57bc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657C91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ACF68A03-3297-4531-883E-E16D972AF9A3}" styleName="acf68a03-3297-4531-883e-e16d972af9a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4B9D5376-1116-4726-B5F7-D2325B6F4288}" styleName="4b9d5376-1116-4726-b5f7-d2325b6f4288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E7E7E7"/>
          </a:solidFill>
        </a:fill>
      </a:tcStyle>
    </a:neCell>
    <a:nwCell>
      <a:tcStyle>
        <a:tcBdr/>
        <a:fill>
          <a:solidFill>
            <a:srgbClr val="E7E7E7"/>
          </a:solidFill>
        </a:fill>
      </a:tcStyle>
    </a:nwCell>
  </a:tblStyle>
  <a:tblStyle styleId="{BFC1C800-ADDB-4902-9555-087DBD773586}" styleName="bfc1c800-addb-4902-9555-087dbd773586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  <a:fill>
          <a:solidFill>
            <a:srgbClr val="E7E7E7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657C91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C34CAC4C-E076-4B3F-ACAE-2CE8947EB371}" styleName="c34cac4c-e076-4b3f-acae-2ce8947eb371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  <a:fill>
          <a:solidFill>
            <a:srgbClr val="E7E7E7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27EDA974-4815-423D-A276-9525AFA6F7AD}" styleName="27eda974-4815-423d-a276-9525afa6f7ad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/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68BDF89B-B213-49C3-9046-1C7167509C9E}" styleName="68bdf89b-b213-49c3-9046-1c7167509c9e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/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4B8FEDD5-C0FE-4FF7-B1F8-CCB7ED73D710}" styleName="4b8fedd5-c0fe-4ff7-b1f8-ccb7ed73d710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  <a:fill>
          <a:solidFill>
            <a:srgbClr val="E7E7E7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657C91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D1E8727C-DFAF-4FE7-8EED-110C1003A472}" styleName="d1e8727c-dfaf-4fe7-8eed-110c1003a472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  <a:fill>
          <a:solidFill>
            <a:srgbClr val="E7E7E7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4DA910C4-0E1B-4FB2-B31F-D4D005FFD25D}" styleName="4da910c4-0e1b-4fb2-b31f-d4d005ffd25d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ED1A3B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54AC9369-0782-4C16-A0A2-D9C5BFC9FF5A}" styleName="54ac9369-0782-4c16-a0a2-d9c5bfc9ff5a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92D22978-E367-40FD-8F85-9F5AD089CA6A}" styleName="92d22978-e367-40fd-8f85-9f5ad089ca6a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H>
            <a:ln w="19050" cmpd="sng">
              <a:solidFill>
                <a:srgbClr val="FFFFFF"/>
              </a:solidFill>
            </a:ln>
          </a:insideH>
        </a:tcBdr>
        <a:fill>
          <a:solidFill>
            <a:srgbClr val="657C91"/>
          </a:solidFill>
        </a:fill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905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rgbClr val="657C91"/>
          </a:solidFill>
        </a:fill>
      </a:tcStyle>
    </a:swCell>
    <a:firstRow>
      <a:tcStyle>
        <a:tcBdr>
          <a:top>
            <a:ln w="19050" cmpd="sng">
              <a:solidFill>
                <a:srgbClr val="657C91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>
          <a:bottom>
            <a:ln w="19050" cmpd="sng">
              <a:solidFill>
                <a:srgbClr val="FFFFFF"/>
              </a:solidFill>
            </a:ln>
          </a:bottom>
        </a:tcBdr>
        <a:fill>
          <a:solidFill>
            <a:srgbClr val="657C91"/>
          </a:solidFill>
        </a:fill>
      </a:tcStyle>
    </a:nwCell>
  </a:tblStyle>
  <a:tblStyle styleId="{65828C11-C0E2-4412-B382-CC1846C69FAC}" styleName="65828c11-c0e2-4412-b382-cc1846c69fac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H>
            <a:ln w="19050" cmpd="sng">
              <a:solidFill>
                <a:srgbClr val="FFFFFF"/>
              </a:solidFill>
            </a:ln>
          </a:insideH>
        </a:tcBdr>
        <a:fill>
          <a:solidFill>
            <a:srgbClr val="657C91"/>
          </a:solidFill>
        </a:fill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905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>
          <a:top>
            <a:ln w="19050" cmpd="sng">
              <a:solidFill>
                <a:srgbClr val="FFFFFF"/>
              </a:solidFill>
            </a:ln>
          </a:top>
          <a:bottom>
            <a:ln>
              <a:noFill/>
            </a:ln>
          </a:bottom>
        </a:tcBdr>
        <a:fill>
          <a:solidFill>
            <a:srgbClr val="657C91"/>
          </a:solidFill>
        </a:fill>
      </a:tcStyle>
    </a:swCell>
    <a:firstRow>
      <a:tcStyle>
        <a:tcBdr>
          <a:top>
            <a:ln w="19050" cmpd="sng">
              <a:solidFill>
                <a:srgbClr val="657C91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>
          <a:top>
            <a:ln>
              <a:noFill/>
            </a:ln>
          </a:top>
          <a:bottom>
            <a:ln w="19050" cmpd="sng">
              <a:solidFill>
                <a:srgbClr val="FFFFFF"/>
              </a:solidFill>
            </a:ln>
          </a:bottom>
        </a:tcBdr>
        <a:fill>
          <a:solidFill>
            <a:srgbClr val="657C91"/>
          </a:solidFill>
        </a:fill>
      </a:tcStyle>
    </a:nwCell>
  </a:tblStyle>
  <a:tblStyle styleId="{0B696E63-4D99-4B28-91CA-30097DC2193E}" styleName="0b696e63-4d99-4b28-91ca-30097dc2193e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3682108E-88B3-43CE-88A6-3256A553837B}" styleName="3682108e-88b3-43ce-88a6-3256a553837b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28F9A0F0-44F9-4F66-B161-E53A37D0A0F6}" styleName="28f9a0f0-44f9-4f66-b161-e53a37d0a0f6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657C91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FAE392AB-43A2-402F-B504-89A25FB55B4B}" styleName="fae392ab-43a2-402f-b504-89a25fb55b4b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F9A3DDD5-484B-4F35-8D6D-48B55324D2DA}" styleName="f9a3ddd5-484b-4f35-8d6d-48b55324d2da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A7A2F7A7-5823-48BA-8806-40EB076442E0}" styleName="a7a2f7a7-5823-48ba-8806-40eb076442e0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>
          <a:insideH>
            <a:ln>
              <a:noFill/>
            </a:ln>
          </a:insideH>
        </a:tcBdr>
        <a:fill>
          <a:solidFill>
            <a:srgbClr val="E7E7E7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9F888E9D-63FA-46F2-8D5F-7CF8984771C9}" styleName="9f888e9d-63fa-46f2-8d5f-7cf8984771c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BB415998-BF10-4DBC-A5C6-E355AD8FF14F}" styleName="bb415998-bf10-4dbc-a5c6-e355ad8ff14f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A0B20912-BBEF-4BF5-8600-022F0E211B2A}" styleName="a0b20912-bbef-4bf5-8600-022f0e211b2a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2950FFB6-E45E-4158-8E9A-78D22727B6D5}" styleName="2950ffb6-e45e-4158-8e9a-78d22727b6d5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A2B8D2AB-3698-4C3D-947C-737C785E73C3}" styleName="a2b8d2ab-3698-4c3d-947c-737c785e73c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5D731B2E-5AF8-4A5F-B25E-EE0934EE105D}" styleName="5d731b2e-5af8-4a5f-b25e-ee0934ee105d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ACC145D5-F5BC-4D20-9DB7-F16447A24694}" styleName="acc145d5-f5bc-4d20-9db7-f16447a24694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4D8DFD98-1D6D-4B41-B406-6AABDA77E2C4}" styleName="4d8dfd98-1d6d-4b41-b406-6aabda77e2c4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696B4113-FEC2-4570-984C-85F4B64F12BE}" styleName="696b4113-fec2-4570-984c-85f4b64f12be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657C91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94039D50-3EAE-4AF7-A1A9-A8AFEA11C1B5}" styleName="94039d50-3eae-4af7-a1a9-a8afea11c1b5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4F460995-0D3B-4C9C-955A-BF1EA07C04C3}" styleName="4f460995-0d3b-4c9c-955a-bf1ea07c04c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03E587AA-EA90-41BA-923A-0BC9B9E4D663}" styleName="03e587aa-ea90-41ba-923a-0bc9b9e4d66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  <a:fill>
          <a:solidFill>
            <a:srgbClr val="E7E7E7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ED1A3B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3C7F96F9-0B3C-4263-9105-DAAAD0227A92}" styleName="3c7f96f9-0b3c-4263-9105-daaad0227a92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33CDDB16-8150-4573-82BA-1D8E6F9DC456}" styleName="33cddb16-8150-4573-82ba-1d8e6f9dc456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/>
        <a:fill>
          <a:solidFill>
            <a:srgbClr val="657C91"/>
          </a:solidFill>
        </a:fill>
      </a:tcStyle>
    </a:firstRow>
    <a:neCell>
      <a:tcStyle>
        <a:tcBdr/>
        <a:fill>
          <a:solidFill>
            <a:srgbClr val="657C91"/>
          </a:solidFill>
        </a:fill>
      </a:tcStyle>
    </a:neCell>
    <a:nwCell>
      <a:tcStyle>
        <a:tcBdr/>
        <a:fill>
          <a:solidFill>
            <a:srgbClr val="657C91"/>
          </a:solidFill>
        </a:fill>
      </a:tcStyle>
    </a:nwCell>
  </a:tblStyle>
  <a:tblStyle styleId="{6B8BC5C7-2A53-4F60-82E0-D69686D30201}" styleName="6b8bc5c7-2a53-4f60-82e0-d69686d30201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30C1A423-14FF-411F-8E91-8BE5A034E4DB}" styleName="30c1a423-14ff-411f-8e91-8be5a034e4db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>
          <a:left>
            <a:ln>
              <a:noFill/>
            </a:ln>
          </a:left>
        </a:tcBdr>
        <a:fill>
          <a:solidFill>
            <a:srgbClr val="ED1A3B"/>
          </a:solidFill>
        </a:fill>
      </a:tcStyle>
    </a:nwCell>
  </a:tblStyle>
  <a:tblStyle styleId="{0B0D361E-DC46-47EB-A3A4-35F89AC5ACA4}" styleName="0b0d361e-dc46-47eb-a3a4-35f89ac5aca4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F9A42900-C99B-415F-91CA-FFAC14A0A32C}" styleName="f9a42900-c99b-415f-91ca-ffac14a0a32c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2CAFABCA-7624-49FE-8A44-BB33C1794473}" styleName="2cafabca-7624-49fe-8a44-bb33c179447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99A70741-9116-45C2-9FD5-986B49469D5B}" styleName="99a70741-9116-45c2-9fd5-986b49469d5b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>
          <a:left>
            <a:ln w="12700" cmpd="sng">
              <a:solidFill>
                <a:srgbClr val="ED1A3B"/>
              </a:solidFill>
            </a:ln>
          </a:left>
          <a:right>
            <a:ln w="12700" cmpd="sng">
              <a:solidFill>
                <a:srgbClr val="ED1A3B"/>
              </a:solidFill>
            </a:ln>
          </a:right>
        </a:tcBdr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>
          <a:bottom>
            <a:ln w="12700" cmpd="sng">
              <a:solidFill>
                <a:srgbClr val="ED1A3B"/>
              </a:solidFill>
            </a:ln>
          </a:bottom>
        </a:tcBdr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top>
            <a:ln w="12700" cmpd="sng">
              <a:solidFill>
                <a:srgbClr val="ED1A3B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AB7CDEE1-A95E-4B22-9BEB-25AC7312F0AC}" styleName="ab7cdee1-a95e-4b22-9beb-25ac7312f0ac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>
          <a:left>
            <a:ln w="12700" cmpd="sng">
              <a:solidFill>
                <a:srgbClr val="ED1A3B"/>
              </a:solidFill>
            </a:ln>
          </a:left>
          <a:right>
            <a:ln w="12700" cmpd="sng">
              <a:solidFill>
                <a:srgbClr val="ED1A3B"/>
              </a:solidFill>
            </a:ln>
          </a:right>
        </a:tcBdr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  <a:fill>
          <a:solidFill>
            <a:srgbClr val="D8DEE3"/>
          </a:solidFill>
        </a:fill>
      </a:tcStyle>
    </a:lastRow>
    <a:seCell>
      <a:tcStyle>
        <a:tcBdr>
          <a:bottom>
            <a:ln w="12700" cmpd="sng">
              <a:solidFill>
                <a:srgbClr val="ED1A3B"/>
              </a:solidFill>
            </a:ln>
          </a:bottom>
        </a:tcBdr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top>
            <a:ln w="12700" cmpd="sng">
              <a:solidFill>
                <a:srgbClr val="ED1A3B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BF792A33-E044-4A28-A4DC-EB8E0D66084C}" styleName="bf792a33-e044-4a28-a4dc-eb8e0d66084c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657C91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0FB18200-BE38-402B-AF85-500E07908E26}" styleName="0fb18200-be38-402b-af85-500e07908e26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6B17F055-2EF6-42C2-9561-26A54CCBC382}" styleName="6b17f055-2ef6-42c2-9561-26a54ccbc382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2F3AAD8A-0BC6-47FC-838F-E2CA7524828B}" styleName="2f3aad8a-0bc6-47fc-838f-e2ca7524828b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E7E7E7"/>
              </a:solidFill>
            </a:ln>
          </a:bottom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F4C28E9B-9B4C-4A4C-932E-F25B0C79CC36}" styleName="f4c28e9b-9b4c-4a4c-932e-f25b0c79cc36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C01D88D8-63D1-4839-AE62-50DBC4C98826}" styleName="c01d88d8-63d1-4839-ae62-50dbc4c98826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bottom>
            <a:ln w="19050" cmpd="sng">
              <a:solidFill>
                <a:srgbClr val="FFFFFF"/>
              </a:solidFill>
            </a:ln>
          </a:bottom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1A06C35C-CEBB-488D-8C5C-67BEB95DBC2F}" styleName="1a06c35c-cebb-488d-8c5c-67beb95dbc2f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B2BDC8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657C91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DB1D1070-4229-4D3C-9242-6A90A614A473}" styleName="db1d1070-4229-4d3c-9242-6a90a614a47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wholeTbl>
    <a:band2H>
      <a:tcStyle>
        <a:tcBdr>
          <a:insideH>
            <a:ln>
              <a:noFill/>
            </a:ln>
          </a:insideH>
        </a:tcBdr>
        <a:fill>
          <a:solidFill>
            <a:srgbClr val="E7E7E7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insideH>
            <a:ln>
              <a:noFill/>
            </a:ln>
          </a:insideH>
        </a:tcBdr>
        <a:fill>
          <a:solidFill>
            <a:srgbClr val="E7E7E7"/>
          </a:solidFill>
        </a:fill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DE8C9E13-837B-4843-BA3E-47EA241FFD6F}" styleName="de8c9e13-837b-4843-ba3e-47ea241ffd6f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>
          <a:insideH>
            <a:ln>
              <a:noFill/>
            </a:ln>
          </a:insideH>
        </a:tcBdr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4864EA49-E977-4D96-B344-298E149DBCA0}" styleName="4864ea49-e977-4d96-b344-298e149dbca0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652F8EC4-4FBB-43CB-A446-2F8A016A0620}" styleName="652f8ec4-4fbb-43cb-a446-2f8a016a0620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insideH>
            <a:ln>
              <a:noFill/>
            </a:ln>
          </a:insideH>
        </a:tcBdr>
        <a:fill>
          <a:solidFill>
            <a:srgbClr val="657C91"/>
          </a:solidFill>
        </a:fill>
      </a:tcStyle>
    </a:lastRow>
    <a:seCell>
      <a:tcStyle>
        <a:tcBdr/>
        <a:fill>
          <a:solidFill>
            <a:srgbClr val="657C91"/>
          </a:solidFill>
        </a:fill>
      </a:tcStyle>
    </a:seCell>
    <a:swCell>
      <a:tcStyle>
        <a:tcBdr/>
        <a:fill>
          <a:solidFill>
            <a:srgbClr val="657C91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BC890E5D-E7B6-41C0-8910-F503B9FFA8C9}" styleName="bc890e5d-e7b6-41c0-8910-f503b9ffa8c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FAFD44CD-9270-4396-81E4-10EF1C29C40C}" styleName="fafd44cd-9270-4396-81e4-10ef1c29c40c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H>
            <a:ln w="19050" cmpd="sng">
              <a:solidFill>
                <a:srgbClr val="FFFFFF"/>
              </a:solidFill>
            </a:ln>
          </a:insideH>
        </a:tcBdr>
        <a:fill>
          <a:solidFill>
            <a:srgbClr val="ED1A3B"/>
          </a:solidFill>
        </a:fill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905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>
          <a:top>
            <a:ln w="19050" cmpd="sng">
              <a:solidFill>
                <a:srgbClr val="FFFFFF"/>
              </a:solidFill>
            </a:ln>
          </a:top>
        </a:tcBdr>
        <a:fill>
          <a:solidFill>
            <a:srgbClr val="ED1A3B"/>
          </a:solidFill>
        </a:fill>
      </a:tcStyle>
    </a:swCell>
    <a:firstRow>
      <a:tcStyle>
        <a:tcBdr>
          <a:top>
            <a:ln w="19050" cmpd="sng">
              <a:solidFill>
                <a:srgbClr val="ED1A3B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>
          <a:bottom>
            <a:ln w="19050" cmpd="sng">
              <a:solidFill>
                <a:srgbClr val="FFFFFF"/>
              </a:solidFill>
            </a:ln>
          </a:bottom>
        </a:tcBdr>
        <a:fill>
          <a:solidFill>
            <a:srgbClr val="ED1A3B"/>
          </a:solidFill>
        </a:fill>
      </a:tcStyle>
    </a:nwCell>
  </a:tblStyle>
  <a:tblStyle styleId="{68C28CCB-C6A2-49D8-96A9-E984B387506A}" styleName="68c28ccb-c6a2-49d8-96a9-e984b387506a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586B1F69-AB98-4BF5-A799-9017D429EE67}" styleName="586b1f69-ab98-4bf5-a799-9017d429ee67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0EE0E053-7BBB-4854-A501-E7312AB75409}" styleName="0ee0e053-7bbb-4854-a501-e7312ab7540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858059B3-296C-4C00-8B97-50D11B4A9B45}" styleName="858059b3-296c-4c00-8b97-50d11b4a9b45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CA4AECA3-BB1B-4CAF-B46E-F69C505C4A32}" styleName="ca4aeca3-bb1b-4caf-b46e-f69c505c4a32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H>
            <a:ln w="19050" cmpd="sng">
              <a:solidFill>
                <a:srgbClr val="FFFFFF"/>
              </a:solidFill>
            </a:ln>
          </a:insideH>
        </a:tcBdr>
        <a:fill>
          <a:solidFill>
            <a:srgbClr val="657C91"/>
          </a:solidFill>
        </a:fill>
      </a:tcStyle>
    </a:firstCol>
    <a:lastRow>
      <a:tcStyle>
        <a:tcBdr/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657C91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A40CAE31-BC7F-48C0-8CCB-1B5367763B40}" styleName="a40cae31-bc7f-48c0-8ccb-1b5367763b40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  <a:fill>
          <a:solidFill>
            <a:srgbClr val="ED1A3B"/>
          </a:solidFill>
        </a:fill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>
          <a:right>
            <a:ln>
              <a:noFill/>
            </a:ln>
          </a:right>
        </a:tcBdr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>
          <a:right>
            <a:ln>
              <a:noFill/>
            </a:ln>
          </a:right>
        </a:tcBdr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A1624BE2-7A3B-4255-BF76-64D7572B345E}" styleName="a1624be2-7a3b-4255-bf76-64d7572b345e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81A374F4-BA19-4CCB-AFF6-86BD107682D9}" styleName="81a374f4-ba19-4ccb-aff6-86bd107682d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2700" cmpd="sng">
              <a:solidFill>
                <a:srgbClr val="404040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ED88973D-A399-49D4-8D31-4B4BC70AA70A}" styleName="ed88973d-a399-49d4-8d31-4b4bc70aa70a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127E4BE8-7B0F-4CAE-889E-583292C2DD4E}" styleName="127e4be8-7b0f-4cae-889e-583292c2dd4e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3D5D3F76-3E7D-40D5-969B-C6E2B5252244}" styleName="3d5d3f76-3e7d-40d5-969b-c6e2b5252244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8C9F0269-098A-484A-AA55-EA3AA7680B91}" styleName="8c9f0269-098a-484a-aa55-ea3aa7680b91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>
          <a:left>
            <a:ln w="12700" cmpd="sng">
              <a:solidFill>
                <a:srgbClr val="ED1A3B"/>
              </a:solidFill>
            </a:ln>
          </a:left>
          <a:right>
            <a:ln w="12700" cmpd="sng">
              <a:solidFill>
                <a:srgbClr val="ED1A3B"/>
              </a:solidFill>
            </a:ln>
          </a:right>
        </a:tcBdr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>
          <a:bottom>
            <a:ln w="12700" cmpd="sng">
              <a:solidFill>
                <a:srgbClr val="ED1A3B"/>
              </a:solidFill>
            </a:ln>
          </a:bottom>
        </a:tcBdr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top>
            <a:ln w="12700" cmpd="sng">
              <a:solidFill>
                <a:srgbClr val="ED1A3B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C9438E1C-B5BE-4A9D-BF96-3C21969A8551}" styleName="c9438e1c-b5be-4a9d-bf96-3c21969a8551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>
          <a:left>
            <a:ln w="12700" cmpd="sng">
              <a:solidFill>
                <a:srgbClr val="ED1A3B"/>
              </a:solidFill>
            </a:ln>
          </a:left>
          <a:right>
            <a:ln w="12700" cmpd="sng">
              <a:solidFill>
                <a:srgbClr val="ED1A3B"/>
              </a:solidFill>
            </a:ln>
          </a:right>
        </a:tcBdr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</a:tcBdr>
        <a:fill>
          <a:solidFill>
            <a:srgbClr val="D8DEE3"/>
          </a:solidFill>
        </a:fill>
      </a:tcStyle>
    </a:lastRow>
    <a:seCell>
      <a:tcStyle>
        <a:tcBdr>
          <a:bottom>
            <a:ln w="12700" cmpd="sng">
              <a:solidFill>
                <a:srgbClr val="ED1A3B"/>
              </a:solidFill>
            </a:ln>
          </a:bottom>
        </a:tcBdr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H>
            <a:ln>
              <a:noFill/>
            </a:ln>
          </a:insideH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top>
            <a:ln w="12700" cmpd="sng">
              <a:solidFill>
                <a:srgbClr val="ED1A3B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33FB2E02-B6F4-48DF-8027-2BD25F0AB8F7}" styleName="33fb2e02-b6f4-48df-8027-2bd25f0ab8f7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bottom>
            <a:ln w="12700" cmpd="sng">
              <a:solidFill>
                <a:srgbClr val="657C91"/>
              </a:solidFill>
            </a:ln>
          </a:bottom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EE4EE4A9-6280-49E1-B303-3200DD7C035C}" styleName="ee4ee4a9-6280-49e1-b303-3200dd7c035c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</a:tcBdr>
        <a:fill>
          <a:solidFill>
            <a:srgbClr val="D8DEE3"/>
          </a:solidFill>
        </a:fill>
      </a:tcStyle>
    </a:lastRow>
    <a:seCell>
      <a:tcStyle>
        <a:tcBdr/>
        <a:fill>
          <a:solidFill>
            <a:srgbClr val="D8DEE3"/>
          </a:solidFill>
        </a:fill>
      </a:tcStyle>
    </a:seCell>
    <a:swCell>
      <a:tcStyle>
        <a:tcBdr/>
        <a:fill>
          <a:solidFill>
            <a:srgbClr val="D8DEE3"/>
          </a:solidFill>
        </a:fill>
      </a:tcStyle>
    </a:swCell>
    <a:firstRow>
      <a:tcStyle>
        <a:tcBdr>
          <a:top>
            <a:ln w="12700" cmpd="sng">
              <a:solidFill>
                <a:srgbClr val="657C91"/>
              </a:solidFill>
            </a:ln>
          </a:top>
          <a:bottom>
            <a:ln w="12700" cmpd="sng">
              <a:solidFill>
                <a:srgbClr val="657C91"/>
              </a:solidFill>
            </a:ln>
          </a:bottom>
          <a:insideV>
            <a:ln w="12700" cmpd="sng">
              <a:solidFill>
                <a:srgbClr val="657C91"/>
              </a:solidFill>
            </a:ln>
          </a:insideV>
        </a:tcBdr>
        <a:fill>
          <a:solidFill>
            <a:srgbClr val="657C91"/>
          </a:solidFill>
        </a:fill>
      </a:tcStyle>
    </a:firstRow>
    <a:ne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eCell>
    <a:nwCell>
      <a:tcStyle>
        <a:tcBdr>
          <a:left>
            <a:ln w="12700" cmpd="sng">
              <a:solidFill>
                <a:srgbClr val="657C91"/>
              </a:solidFill>
            </a:ln>
          </a:left>
          <a:right>
            <a:ln w="12700" cmpd="sng">
              <a:solidFill>
                <a:srgbClr val="657C91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nwCell>
  </a:tblStyle>
  <a:tblStyle styleId="{3AFF4377-543E-46FF-A331-17BE9F1E50FB}" styleName="3aff4377-543e-46ff-a331-17be9f1e50fb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77EAFB57-80EA-4FC5-B340-482CFC061AB7}" styleName="77eafb57-80ea-4fc5-b340-482cfc061ab7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DFD151AE-B084-40BD-B54E-986824F683C7}" styleName="dfd151ae-b084-40bd-b54e-986824f683c7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bottom>
            <a:ln w="19050" cmpd="sng">
              <a:solidFill>
                <a:srgbClr val="FFFFFF"/>
              </a:solidFill>
            </a:ln>
          </a:bottom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2970E056-F04B-4581-AC1C-C821216AC013}" styleName="2970e056-f04b-4581-ac1c-c821216ac01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B2BDC8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657C91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719B4BD7-ADF9-49A5-A4BE-ABA837E262C2}" styleName="719b4bd7-adf9-49a5-a4be-aba837e262c2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657C91"/>
          </a:solidFill>
        </a:fill>
      </a:tcStyle>
    </a:wholeTbl>
    <a:band2H>
      <a:tcStyle>
        <a:tcBdr>
          <a:insideH>
            <a:ln>
              <a:noFill/>
            </a:ln>
          </a:insideH>
        </a:tcBdr>
        <a:fill>
          <a:solidFill>
            <a:srgbClr val="E7E7E7"/>
          </a:solidFill>
        </a:fill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insideH>
            <a:ln>
              <a:noFill/>
            </a:ln>
          </a:insideH>
        </a:tcBdr>
        <a:fill>
          <a:solidFill>
            <a:srgbClr val="E7E7E7"/>
          </a:solidFill>
        </a:fill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23F769E7-1D37-43C1-9AE2-F283C694F5D3}" styleName="23f769e7-1d37-43c1-9ae2-f283c694f5d3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>
          <a:insideH>
            <a:ln>
              <a:noFill/>
            </a:ln>
          </a:insideH>
        </a:tcBdr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C617E641-63AA-4EFC-BC12-5CE4F99C6874}" styleName="c617e641-63aa-4efc-bc12-5ce4f99c6874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866939D5-7A81-4744-9C00-1B52EDF177E9}" styleName="866939d5-7a81-4744-9c00-1b52edf177e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insideH>
            <a:ln>
              <a:noFill/>
            </a:ln>
          </a:insideH>
        </a:tcBdr>
        <a:fill>
          <a:solidFill>
            <a:srgbClr val="657C91"/>
          </a:solidFill>
        </a:fill>
      </a:tcStyle>
    </a:lastRow>
    <a:seCell>
      <a:tcStyle>
        <a:tcBdr/>
        <a:fill>
          <a:solidFill>
            <a:srgbClr val="657C91"/>
          </a:solidFill>
        </a:fill>
      </a:tcStyle>
    </a:seCell>
    <a:swCell>
      <a:tcStyle>
        <a:tcBdr/>
        <a:fill>
          <a:solidFill>
            <a:srgbClr val="657C91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D8B7282D-1B1E-47D8-B34B-8187A7454B4B}" styleName="d8b7282d-1b1e-47d8-b34b-8187a7454b4b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2A6373CC-D191-4F88-8479-25082C938758}" styleName="2a6373cc-d191-4f88-8479-25082c938758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H>
            <a:ln w="19050" cmpd="sng">
              <a:solidFill>
                <a:srgbClr val="FFFFFF"/>
              </a:solidFill>
            </a:ln>
          </a:insideH>
        </a:tcBdr>
        <a:fill>
          <a:solidFill>
            <a:srgbClr val="ED1A3B"/>
          </a:solidFill>
        </a:fill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905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>
          <a:top>
            <a:ln w="19050" cmpd="sng">
              <a:solidFill>
                <a:srgbClr val="FFFFFF"/>
              </a:solidFill>
            </a:ln>
          </a:top>
          <a:bottom>
            <a:ln>
              <a:noFill/>
            </a:ln>
          </a:bottom>
        </a:tcBdr>
        <a:fill>
          <a:solidFill>
            <a:srgbClr val="ED1A3B"/>
          </a:solidFill>
        </a:fill>
      </a:tcStyle>
    </a:swCell>
    <a:firstRow>
      <a:tcStyle>
        <a:tcBdr>
          <a:top>
            <a:ln w="19050" cmpd="sng">
              <a:solidFill>
                <a:srgbClr val="ED1A3B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>
          <a:top>
            <a:ln>
              <a:noFill/>
            </a:ln>
          </a:top>
          <a:bottom>
            <a:ln w="19050" cmpd="sng">
              <a:solidFill>
                <a:srgbClr val="FFFFFF"/>
              </a:solidFill>
            </a:ln>
          </a:bottom>
        </a:tcBdr>
        <a:fill>
          <a:solidFill>
            <a:srgbClr val="ED1A3B"/>
          </a:solidFill>
        </a:fill>
      </a:tcStyle>
    </a:nwCell>
  </a:tblStyle>
  <a:tblStyle styleId="{73B5E1A4-94E0-4C24-952F-F2B95059F16C}" styleName="73b5e1a4-94e0-4c24-952f-f2b95059f16c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55050DD3-4205-4ADD-966B-E741CFA10CD7}" styleName="55050dd3-4205-4add-966b-e741cfa10cd7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29AE22F5-ADA5-470C-BF62-B7E1B930DC1D}" styleName="29ae22f5-ada5-470c-bf62-b7e1b930dc1d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3E983AA7-EE81-47BB-9893-AB10C470047A}" styleName="3e983aa7-ee81-47bb-9893-ab10c470047a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FAFA9D8C-65CE-4F89-BA80-7CF4CCF0ED1A}" styleName="fafa9d8c-65ce-4f89-ba80-7cf4ccf0ed1a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H>
            <a:ln w="19050" cmpd="sng">
              <a:solidFill>
                <a:srgbClr val="FFFFFF"/>
              </a:solidFill>
            </a:ln>
          </a:insideH>
        </a:tcBdr>
        <a:fill>
          <a:solidFill>
            <a:srgbClr val="657C91"/>
          </a:solidFill>
        </a:fill>
      </a:tcStyle>
    </a:firstCol>
    <a:lastRow>
      <a:tcStyle>
        <a:tcBdr/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657C91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D1A3B"/>
          </a:solidFill>
        </a:fill>
      </a:tcStyle>
    </a:firstRow>
    <a:neCell>
      <a:tcStyle>
        <a:tcBdr>
          <a:left>
            <a:ln w="19050" cmpd="sng">
              <a:solidFill>
                <a:srgbClr val="FFFFFF"/>
              </a:solidFill>
            </a:ln>
          </a:left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eCell>
    <a:nwCell>
      <a:tcStyle>
        <a:tcBdr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rgbClr val="ED1A3B"/>
          </a:solidFill>
        </a:fill>
      </a:tcStyle>
    </a:nwCell>
  </a:tblStyle>
  <a:tblStyle styleId="{942CD243-853B-4D8B-AE93-FE446181D691}" styleName="942cd243-853b-4d8b-ae93-fe446181d691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 w="19050" cmpd="sng">
              <a:solidFill>
                <a:srgbClr val="FFFFFF"/>
              </a:solidFill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  <a:fill>
          <a:solidFill>
            <a:srgbClr val="ED1A3B"/>
          </a:solidFill>
        </a:fill>
      </a:tcStyle>
    </a:band2H>
    <a:lastCol>
      <a:tcStyle>
        <a:tcBdr>
          <a:left>
            <a:ln w="19050" cmpd="sng">
              <a:solidFill>
                <a:srgbClr val="FFFFFF"/>
              </a:solidFill>
            </a:ln>
          </a:left>
          <a:insideV>
            <a:ln>
              <a:noFill/>
            </a:ln>
          </a:insideV>
        </a:tcBdr>
      </a:tcStyle>
    </a:lastCol>
    <a:firstCol>
      <a:tcStyle>
        <a:tcBdr>
          <a:right>
            <a:ln w="19050" cmpd="sng">
              <a:solidFill>
                <a:srgbClr val="FFFFFF"/>
              </a:solidFill>
            </a:ln>
          </a:right>
          <a:insideV>
            <a:ln>
              <a:noFill/>
            </a:ln>
          </a:insideV>
        </a:tcBdr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B8F68328-C0EE-4078-9EF0-3C00BBB9DDF0}" styleName="b8f68328-c0ee-4078-9ef0-3c00bbb9ddf0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rgbClr val="E7E7E7"/>
              </a:solidFill>
            </a:ln>
          </a:insideH>
          <a:insideV>
            <a:ln>
              <a:noFill/>
            </a:ln>
          </a:insideV>
        </a:tcBdr>
        <a:fill>
          <a:solidFill>
            <a:srgbClr val="FFFFFF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2700" cmpd="sng">
              <a:solidFill>
                <a:srgbClr val="E7E7E7"/>
              </a:solidFill>
            </a:ln>
          </a:top>
          <a:bottom>
            <a:ln w="12700" cmpd="sng">
              <a:solidFill>
                <a:srgbClr val="E7E7E7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FFFFFF"/>
          </a:solidFill>
        </a:fill>
      </a:tcStyle>
    </a:seCell>
    <a:swCell>
      <a:tcStyle>
        <a:tcBdr/>
        <a:fill>
          <a:solidFill>
            <a:srgbClr val="FFFFFF"/>
          </a:solidFill>
        </a:fill>
      </a:tcStyle>
    </a:swCell>
    <a:firstRow>
      <a:tcStyle>
        <a:tcBdr>
          <a:bottom>
            <a:ln w="12700" cmpd="sng">
              <a:solidFill>
                <a:srgbClr val="ED1A3B"/>
              </a:solidFill>
            </a:ln>
          </a:bottom>
          <a:insideH>
            <a:ln>
              <a:noFill/>
            </a:ln>
          </a:insideH>
        </a:tcBdr>
      </a:tcStyle>
    </a:firstRow>
    <a:neCell>
      <a:tcStyle>
        <a:tcBdr/>
        <a:fill>
          <a:solidFill>
            <a:srgbClr val="FFFFFF"/>
          </a:solidFill>
        </a:fill>
      </a:tcStyle>
    </a:neCell>
    <a:nwCell>
      <a:tcStyle>
        <a:tcBdr/>
        <a:fill>
          <a:solidFill>
            <a:srgbClr val="FFFFFF"/>
          </a:solidFill>
        </a:fill>
      </a:tcStyle>
    </a:nwCell>
  </a:tblStyle>
  <a:tblStyle styleId="{2F4C2A0C-0C0C-49BC-AC1F-8B05CF756A29}" styleName="2f4c2a0c-0c0c-49bc-ac1f-8b05cf756a29">
    <a:tblBg>
      <a:fill>
        <a:noFill/>
      </a:fill>
    </a:tblBg>
    <a:wholeTbl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9050" cmpd="sng">
              <a:solidFill>
                <a:srgbClr val="FFFFFF"/>
              </a:solidFill>
            </a:ln>
          </a:insideH>
          <a:insideV>
            <a:ln>
              <a:noFill/>
            </a:ln>
          </a:insideV>
        </a:tcBdr>
        <a:fill>
          <a:solidFill>
            <a:srgbClr val="E7E7E7"/>
          </a:solidFill>
        </a:fill>
      </a:tcStyle>
    </a:wholeTbl>
    <a:band2H>
      <a:tcStyle>
        <a:tcBdr/>
      </a:tcStyle>
    </a:band2H>
    <a:lastCol>
      <a:tcStyle>
        <a:tcBdr/>
      </a:tcStyle>
    </a:lastCol>
    <a:firstCol>
      <a:tcStyle>
        <a:tcBdr/>
      </a:tcStyle>
    </a:firstCol>
    <a:lastRow>
      <a:tcStyle>
        <a:tcBdr>
          <a:top>
            <a:ln w="19050" cmpd="sng">
              <a:solidFill>
                <a:srgbClr val="FFFFFF"/>
              </a:solidFill>
            </a:ln>
          </a:top>
          <a:bottom>
            <a:ln w="12700" cmpd="sng">
              <a:solidFill>
                <a:srgbClr val="404040"/>
              </a:solidFill>
            </a:ln>
          </a:bottom>
          <a:insideH>
            <a:ln>
              <a:noFill/>
            </a:ln>
          </a:insideH>
        </a:tcBdr>
      </a:tcStyle>
    </a:lastRow>
    <a:seCell>
      <a:tcStyle>
        <a:tcBdr/>
        <a:fill>
          <a:solidFill>
            <a:srgbClr val="E7E7E7"/>
          </a:solidFill>
        </a:fill>
      </a:tcStyle>
    </a:seCell>
    <a:swCell>
      <a:tcStyle>
        <a:tcBdr/>
        <a:fill>
          <a:solidFill>
            <a:srgbClr val="E7E7E7"/>
          </a:solidFill>
        </a:fill>
      </a:tcStyle>
    </a:swCell>
    <a:firstRow>
      <a:tcStyle>
        <a:tcBdr>
          <a:bottom>
            <a:ln w="19050" cmpd="sng">
              <a:solidFill>
                <a:srgbClr val="FFFFFF"/>
              </a:solidFill>
            </a:ln>
          </a:bottom>
          <a:insideH>
            <a:ln>
              <a:noFill/>
            </a:ln>
          </a:insideH>
        </a:tcBdr>
        <a:fill>
          <a:solidFill>
            <a:srgbClr val="ED1A3B"/>
          </a:solidFill>
        </a:fill>
      </a:tcStyle>
    </a:firstRow>
    <a:neCell>
      <a:tcStyle>
        <a:tcBdr/>
        <a:fill>
          <a:solidFill>
            <a:srgbClr val="ED1A3B"/>
          </a:solidFill>
        </a:fill>
      </a:tcStyle>
    </a:neCell>
    <a:nwCell>
      <a:tcStyle>
        <a:tcBdr/>
        <a:fill>
          <a:solidFill>
            <a:srgbClr val="ED1A3B"/>
          </a:solidFill>
        </a:fill>
      </a:tcStyle>
    </a:nwCell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77" autoAdjust="0"/>
    <p:restoredTop sz="92049" autoAdjust="0"/>
  </p:normalViewPr>
  <p:slideViewPr>
    <p:cSldViewPr>
      <p:cViewPr varScale="1">
        <p:scale>
          <a:sx n="107" d="100"/>
          <a:sy n="107" d="100"/>
        </p:scale>
        <p:origin x="678" y="90"/>
      </p:cViewPr>
      <p:guideLst>
        <p:guide pos="3368"/>
        <p:guide orient="horz" pos="2382"/>
      </p:guideLst>
    </p:cSldViewPr>
  </p:slideViewPr>
  <p:outlineViewPr>
    <p:cViewPr>
      <p:scale>
        <a:sx n="33" d="100"/>
        <a:sy n="33" d="100"/>
      </p:scale>
      <p:origin x="0" y="-3959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848"/>
    </p:cViewPr>
  </p:sorterViewPr>
  <p:notesViewPr>
    <p:cSldViewPr showGuides="1">
      <p:cViewPr varScale="1">
        <p:scale>
          <a:sx n="77" d="100"/>
          <a:sy n="77" d="100"/>
        </p:scale>
        <p:origin x="3126" y="90"/>
      </p:cViewPr>
      <p:guideLst>
        <p:guide orient="horz" pos="3081"/>
        <p:guide pos="2073"/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Relationship Id="rId46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tags" Target="tags/tag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eubauer Mario" userId="1339e2f0-a547-47c8-a4de-7ef5a197ad25" providerId="ADAL" clId="{74FAE3CE-AD32-471B-A4BC-22A949FF67D2}"/>
    <pc:docChg chg="undo custSel addSld modSld sldOrd">
      <pc:chgData name="Neubauer Mario" userId="1339e2f0-a547-47c8-a4de-7ef5a197ad25" providerId="ADAL" clId="{74FAE3CE-AD32-471B-A4BC-22A949FF67D2}" dt="2022-11-22T14:48:25.739" v="402" actId="14861"/>
      <pc:docMkLst>
        <pc:docMk/>
      </pc:docMkLst>
      <pc:sldChg chg="ord">
        <pc:chgData name="Neubauer Mario" userId="1339e2f0-a547-47c8-a4de-7ef5a197ad25" providerId="ADAL" clId="{74FAE3CE-AD32-471B-A4BC-22A949FF67D2}" dt="2022-11-22T12:17:49.501" v="31"/>
        <pc:sldMkLst>
          <pc:docMk/>
          <pc:sldMk cId="3053080208" sldId="679"/>
        </pc:sldMkLst>
      </pc:sldChg>
      <pc:sldChg chg="mod ord modShow">
        <pc:chgData name="Neubauer Mario" userId="1339e2f0-a547-47c8-a4de-7ef5a197ad25" providerId="ADAL" clId="{74FAE3CE-AD32-471B-A4BC-22A949FF67D2}" dt="2022-11-22T12:25:23.563" v="32" actId="729"/>
        <pc:sldMkLst>
          <pc:docMk/>
          <pc:sldMk cId="727493600" sldId="698"/>
        </pc:sldMkLst>
      </pc:sldChg>
      <pc:sldChg chg="ord">
        <pc:chgData name="Neubauer Mario" userId="1339e2f0-a547-47c8-a4de-7ef5a197ad25" providerId="ADAL" clId="{74FAE3CE-AD32-471B-A4BC-22A949FF67D2}" dt="2022-11-22T12:17:49.501" v="31"/>
        <pc:sldMkLst>
          <pc:docMk/>
          <pc:sldMk cId="721292743" sldId="701"/>
        </pc:sldMkLst>
      </pc:sldChg>
      <pc:sldChg chg="mod modShow">
        <pc:chgData name="Neubauer Mario" userId="1339e2f0-a547-47c8-a4de-7ef5a197ad25" providerId="ADAL" clId="{74FAE3CE-AD32-471B-A4BC-22A949FF67D2}" dt="2022-11-22T12:17:07.815" v="26" actId="729"/>
        <pc:sldMkLst>
          <pc:docMk/>
          <pc:sldMk cId="1101642040" sldId="1273"/>
        </pc:sldMkLst>
      </pc:sldChg>
      <pc:sldChg chg="ord">
        <pc:chgData name="Neubauer Mario" userId="1339e2f0-a547-47c8-a4de-7ef5a197ad25" providerId="ADAL" clId="{74FAE3CE-AD32-471B-A4BC-22A949FF67D2}" dt="2022-11-22T12:17:49.501" v="31"/>
        <pc:sldMkLst>
          <pc:docMk/>
          <pc:sldMk cId="522376028" sldId="1510"/>
        </pc:sldMkLst>
      </pc:sldChg>
      <pc:sldChg chg="ord">
        <pc:chgData name="Neubauer Mario" userId="1339e2f0-a547-47c8-a4de-7ef5a197ad25" providerId="ADAL" clId="{74FAE3CE-AD32-471B-A4BC-22A949FF67D2}" dt="2022-11-22T12:17:49.501" v="31"/>
        <pc:sldMkLst>
          <pc:docMk/>
          <pc:sldMk cId="1022811660" sldId="1511"/>
        </pc:sldMkLst>
      </pc:sldChg>
      <pc:sldChg chg="addSp delSp modSp mod ord">
        <pc:chgData name="Neubauer Mario" userId="1339e2f0-a547-47c8-a4de-7ef5a197ad25" providerId="ADAL" clId="{74FAE3CE-AD32-471B-A4BC-22A949FF67D2}" dt="2022-11-22T11:55:39.828" v="23" actId="167"/>
        <pc:sldMkLst>
          <pc:docMk/>
          <pc:sldMk cId="85136482" sldId="1517"/>
        </pc:sldMkLst>
        <pc:spChg chg="mod">
          <ac:chgData name="Neubauer Mario" userId="1339e2f0-a547-47c8-a4de-7ef5a197ad25" providerId="ADAL" clId="{74FAE3CE-AD32-471B-A4BC-22A949FF67D2}" dt="2022-11-22T11:55:35.057" v="22"/>
          <ac:spMkLst>
            <pc:docMk/>
            <pc:sldMk cId="85136482" sldId="1517"/>
            <ac:spMk id="11" creationId="{F804E99B-FB4A-4B0B-8FCA-E3B7836D128B}"/>
          </ac:spMkLst>
        </pc:spChg>
        <pc:spChg chg="mod">
          <ac:chgData name="Neubauer Mario" userId="1339e2f0-a547-47c8-a4de-7ef5a197ad25" providerId="ADAL" clId="{74FAE3CE-AD32-471B-A4BC-22A949FF67D2}" dt="2022-11-22T11:55:35.057" v="22"/>
          <ac:spMkLst>
            <pc:docMk/>
            <pc:sldMk cId="85136482" sldId="1517"/>
            <ac:spMk id="12" creationId="{33B47933-262E-41AD-8B04-1134B8BACE0A}"/>
          </ac:spMkLst>
        </pc:spChg>
        <pc:grpChg chg="del">
          <ac:chgData name="Neubauer Mario" userId="1339e2f0-a547-47c8-a4de-7ef5a197ad25" providerId="ADAL" clId="{74FAE3CE-AD32-471B-A4BC-22A949FF67D2}" dt="2022-11-22T11:55:30.491" v="19" actId="21"/>
          <ac:grpSpMkLst>
            <pc:docMk/>
            <pc:sldMk cId="85136482" sldId="1517"/>
            <ac:grpSpMk id="5" creationId="{D9E8790F-D424-4B2A-BA5B-19A91C644CE2}"/>
          </ac:grpSpMkLst>
        </pc:grpChg>
        <pc:grpChg chg="add mod ord">
          <ac:chgData name="Neubauer Mario" userId="1339e2f0-a547-47c8-a4de-7ef5a197ad25" providerId="ADAL" clId="{74FAE3CE-AD32-471B-A4BC-22A949FF67D2}" dt="2022-11-22T11:55:39.828" v="23" actId="167"/>
          <ac:grpSpMkLst>
            <pc:docMk/>
            <pc:sldMk cId="85136482" sldId="1517"/>
            <ac:grpSpMk id="10" creationId="{8207CA06-B872-4B66-97A5-342F4A9FF1F5}"/>
          </ac:grpSpMkLst>
        </pc:grpChg>
      </pc:sldChg>
      <pc:sldChg chg="ord">
        <pc:chgData name="Neubauer Mario" userId="1339e2f0-a547-47c8-a4de-7ef5a197ad25" providerId="ADAL" clId="{74FAE3CE-AD32-471B-A4BC-22A949FF67D2}" dt="2022-11-22T11:54:50.945" v="12"/>
        <pc:sldMkLst>
          <pc:docMk/>
          <pc:sldMk cId="2661640658" sldId="7293"/>
        </pc:sldMkLst>
      </pc:sldChg>
      <pc:sldChg chg="mod ord modShow">
        <pc:chgData name="Neubauer Mario" userId="1339e2f0-a547-47c8-a4de-7ef5a197ad25" providerId="ADAL" clId="{74FAE3CE-AD32-471B-A4BC-22A949FF67D2}" dt="2022-11-22T11:54:50.945" v="12"/>
        <pc:sldMkLst>
          <pc:docMk/>
          <pc:sldMk cId="2155033770" sldId="7313"/>
        </pc:sldMkLst>
      </pc:sldChg>
      <pc:sldChg chg="modSp mod">
        <pc:chgData name="Neubauer Mario" userId="1339e2f0-a547-47c8-a4de-7ef5a197ad25" providerId="ADAL" clId="{74FAE3CE-AD32-471B-A4BC-22A949FF67D2}" dt="2022-11-22T14:46:49.096" v="376"/>
        <pc:sldMkLst>
          <pc:docMk/>
          <pc:sldMk cId="1261046217" sldId="7359"/>
        </pc:sldMkLst>
        <pc:spChg chg="mod">
          <ac:chgData name="Neubauer Mario" userId="1339e2f0-a547-47c8-a4de-7ef5a197ad25" providerId="ADAL" clId="{74FAE3CE-AD32-471B-A4BC-22A949FF67D2}" dt="2022-11-22T14:46:39.802" v="375"/>
          <ac:spMkLst>
            <pc:docMk/>
            <pc:sldMk cId="1261046217" sldId="7359"/>
            <ac:spMk id="3" creationId="{9E2C7866-264E-405B-84C3-5C4C514F8400}"/>
          </ac:spMkLst>
        </pc:spChg>
        <pc:spChg chg="mod">
          <ac:chgData name="Neubauer Mario" userId="1339e2f0-a547-47c8-a4de-7ef5a197ad25" providerId="ADAL" clId="{74FAE3CE-AD32-471B-A4BC-22A949FF67D2}" dt="2022-11-22T14:46:49.096" v="376"/>
          <ac:spMkLst>
            <pc:docMk/>
            <pc:sldMk cId="1261046217" sldId="7359"/>
            <ac:spMk id="43" creationId="{A93CEB01-B588-4274-B97A-CB8192E42954}"/>
          </ac:spMkLst>
        </pc:spChg>
      </pc:sldChg>
      <pc:sldChg chg="modSp mod">
        <pc:chgData name="Neubauer Mario" userId="1339e2f0-a547-47c8-a4de-7ef5a197ad25" providerId="ADAL" clId="{74FAE3CE-AD32-471B-A4BC-22A949FF67D2}" dt="2022-11-22T11:39:19.106" v="9" actId="1076"/>
        <pc:sldMkLst>
          <pc:docMk/>
          <pc:sldMk cId="1662102020" sldId="7414"/>
        </pc:sldMkLst>
        <pc:spChg chg="mod">
          <ac:chgData name="Neubauer Mario" userId="1339e2f0-a547-47c8-a4de-7ef5a197ad25" providerId="ADAL" clId="{74FAE3CE-AD32-471B-A4BC-22A949FF67D2}" dt="2022-11-22T11:39:19.106" v="9" actId="1076"/>
          <ac:spMkLst>
            <pc:docMk/>
            <pc:sldMk cId="1662102020" sldId="7414"/>
            <ac:spMk id="9" creationId="{DEFE11A1-EDB7-4249-B372-C7FA37A7EB71}"/>
          </ac:spMkLst>
        </pc:spChg>
        <pc:spChg chg="mod">
          <ac:chgData name="Neubauer Mario" userId="1339e2f0-a547-47c8-a4de-7ef5a197ad25" providerId="ADAL" clId="{74FAE3CE-AD32-471B-A4BC-22A949FF67D2}" dt="2022-11-22T11:39:17.181" v="7" actId="1036"/>
          <ac:spMkLst>
            <pc:docMk/>
            <pc:sldMk cId="1662102020" sldId="7414"/>
            <ac:spMk id="15" creationId="{D6654EF6-90F0-4725-BBC9-F43BF3FE3CC9}"/>
          </ac:spMkLst>
        </pc:spChg>
        <pc:spChg chg="mod">
          <ac:chgData name="Neubauer Mario" userId="1339e2f0-a547-47c8-a4de-7ef5a197ad25" providerId="ADAL" clId="{74FAE3CE-AD32-471B-A4BC-22A949FF67D2}" dt="2022-11-22T11:39:17.181" v="7" actId="1036"/>
          <ac:spMkLst>
            <pc:docMk/>
            <pc:sldMk cId="1662102020" sldId="7414"/>
            <ac:spMk id="16" creationId="{A304A870-3828-4724-8CCC-7C8451C6067B}"/>
          </ac:spMkLst>
        </pc:spChg>
        <pc:spChg chg="mod">
          <ac:chgData name="Neubauer Mario" userId="1339e2f0-a547-47c8-a4de-7ef5a197ad25" providerId="ADAL" clId="{74FAE3CE-AD32-471B-A4BC-22A949FF67D2}" dt="2022-11-22T11:39:17.181" v="7" actId="1036"/>
          <ac:spMkLst>
            <pc:docMk/>
            <pc:sldMk cId="1662102020" sldId="7414"/>
            <ac:spMk id="17" creationId="{FFB251F3-0288-4DC8-9177-2CE551074FFE}"/>
          </ac:spMkLst>
        </pc:spChg>
        <pc:spChg chg="mod">
          <ac:chgData name="Neubauer Mario" userId="1339e2f0-a547-47c8-a4de-7ef5a197ad25" providerId="ADAL" clId="{74FAE3CE-AD32-471B-A4BC-22A949FF67D2}" dt="2022-11-22T11:39:17.181" v="7" actId="1036"/>
          <ac:spMkLst>
            <pc:docMk/>
            <pc:sldMk cId="1662102020" sldId="7414"/>
            <ac:spMk id="18" creationId="{0CF9809A-710A-47DB-AECF-81036A180336}"/>
          </ac:spMkLst>
        </pc:spChg>
        <pc:spChg chg="mod">
          <ac:chgData name="Neubauer Mario" userId="1339e2f0-a547-47c8-a4de-7ef5a197ad25" providerId="ADAL" clId="{74FAE3CE-AD32-471B-A4BC-22A949FF67D2}" dt="2022-11-22T11:39:17.181" v="7" actId="1036"/>
          <ac:spMkLst>
            <pc:docMk/>
            <pc:sldMk cId="1662102020" sldId="7414"/>
            <ac:spMk id="19" creationId="{6DA9ACF1-CDAA-4DA0-9B00-82D4EEDEABD5}"/>
          </ac:spMkLst>
        </pc:spChg>
        <pc:spChg chg="mod">
          <ac:chgData name="Neubauer Mario" userId="1339e2f0-a547-47c8-a4de-7ef5a197ad25" providerId="ADAL" clId="{74FAE3CE-AD32-471B-A4BC-22A949FF67D2}" dt="2022-11-22T11:39:17.181" v="7" actId="1036"/>
          <ac:spMkLst>
            <pc:docMk/>
            <pc:sldMk cId="1662102020" sldId="7414"/>
            <ac:spMk id="20" creationId="{24CAE33C-74B1-46D9-B765-57B4B92F8853}"/>
          </ac:spMkLst>
        </pc:spChg>
      </pc:sldChg>
      <pc:sldChg chg="mod ord modShow">
        <pc:chgData name="Neubauer Mario" userId="1339e2f0-a547-47c8-a4de-7ef5a197ad25" providerId="ADAL" clId="{74FAE3CE-AD32-471B-A4BC-22A949FF67D2}" dt="2022-11-22T11:54:50.945" v="12"/>
        <pc:sldMkLst>
          <pc:docMk/>
          <pc:sldMk cId="2729619892" sldId="7416"/>
        </pc:sldMkLst>
      </pc:sldChg>
      <pc:sldChg chg="mod ord modShow">
        <pc:chgData name="Neubauer Mario" userId="1339e2f0-a547-47c8-a4de-7ef5a197ad25" providerId="ADAL" clId="{74FAE3CE-AD32-471B-A4BC-22A949FF67D2}" dt="2022-11-22T11:54:50.945" v="12"/>
        <pc:sldMkLst>
          <pc:docMk/>
          <pc:sldMk cId="541097032" sldId="7417"/>
        </pc:sldMkLst>
      </pc:sldChg>
      <pc:sldChg chg="ord">
        <pc:chgData name="Neubauer Mario" userId="1339e2f0-a547-47c8-a4de-7ef5a197ad25" providerId="ADAL" clId="{74FAE3CE-AD32-471B-A4BC-22A949FF67D2}" dt="2022-11-22T11:54:50.945" v="12"/>
        <pc:sldMkLst>
          <pc:docMk/>
          <pc:sldMk cId="4231052375" sldId="7418"/>
        </pc:sldMkLst>
      </pc:sldChg>
      <pc:sldChg chg="ord">
        <pc:chgData name="Neubauer Mario" userId="1339e2f0-a547-47c8-a4de-7ef5a197ad25" providerId="ADAL" clId="{74FAE3CE-AD32-471B-A4BC-22A949FF67D2}" dt="2022-11-22T11:54:50.945" v="12"/>
        <pc:sldMkLst>
          <pc:docMk/>
          <pc:sldMk cId="3874389277" sldId="7419"/>
        </pc:sldMkLst>
      </pc:sldChg>
      <pc:sldChg chg="ord">
        <pc:chgData name="Neubauer Mario" userId="1339e2f0-a547-47c8-a4de-7ef5a197ad25" providerId="ADAL" clId="{74FAE3CE-AD32-471B-A4BC-22A949FF67D2}" dt="2022-11-22T11:55:12.293" v="14"/>
        <pc:sldMkLst>
          <pc:docMk/>
          <pc:sldMk cId="4278164532" sldId="7424"/>
        </pc:sldMkLst>
      </pc:sldChg>
      <pc:sldChg chg="addSp delSp modSp mod ord">
        <pc:chgData name="Neubauer Mario" userId="1339e2f0-a547-47c8-a4de-7ef5a197ad25" providerId="ADAL" clId="{74FAE3CE-AD32-471B-A4BC-22A949FF67D2}" dt="2022-11-22T11:55:43.721" v="24" actId="167"/>
        <pc:sldMkLst>
          <pc:docMk/>
          <pc:sldMk cId="1458234260" sldId="7426"/>
        </pc:sldMkLst>
        <pc:spChg chg="mod">
          <ac:chgData name="Neubauer Mario" userId="1339e2f0-a547-47c8-a4de-7ef5a197ad25" providerId="ADAL" clId="{74FAE3CE-AD32-471B-A4BC-22A949FF67D2}" dt="2022-11-22T11:55:32.541" v="20"/>
          <ac:spMkLst>
            <pc:docMk/>
            <pc:sldMk cId="1458234260" sldId="7426"/>
            <ac:spMk id="14" creationId="{CEE530FA-3FE5-45EB-AD5B-5EC4AB178463}"/>
          </ac:spMkLst>
        </pc:spChg>
        <pc:spChg chg="mod">
          <ac:chgData name="Neubauer Mario" userId="1339e2f0-a547-47c8-a4de-7ef5a197ad25" providerId="ADAL" clId="{74FAE3CE-AD32-471B-A4BC-22A949FF67D2}" dt="2022-11-22T11:55:32.541" v="20"/>
          <ac:spMkLst>
            <pc:docMk/>
            <pc:sldMk cId="1458234260" sldId="7426"/>
            <ac:spMk id="15" creationId="{41254E88-14DE-4173-8C0B-0F3AC89DDC0B}"/>
          </ac:spMkLst>
        </pc:spChg>
        <pc:grpChg chg="del">
          <ac:chgData name="Neubauer Mario" userId="1339e2f0-a547-47c8-a4de-7ef5a197ad25" providerId="ADAL" clId="{74FAE3CE-AD32-471B-A4BC-22A949FF67D2}" dt="2022-11-22T11:55:34.076" v="21" actId="21"/>
          <ac:grpSpMkLst>
            <pc:docMk/>
            <pc:sldMk cId="1458234260" sldId="7426"/>
            <ac:grpSpMk id="10" creationId="{8A8FBD6E-7A17-4BFD-9868-674B0C5DF73C}"/>
          </ac:grpSpMkLst>
        </pc:grpChg>
        <pc:grpChg chg="add mod ord">
          <ac:chgData name="Neubauer Mario" userId="1339e2f0-a547-47c8-a4de-7ef5a197ad25" providerId="ADAL" clId="{74FAE3CE-AD32-471B-A4BC-22A949FF67D2}" dt="2022-11-22T11:55:43.721" v="24" actId="167"/>
          <ac:grpSpMkLst>
            <pc:docMk/>
            <pc:sldMk cId="1458234260" sldId="7426"/>
            <ac:grpSpMk id="13" creationId="{E8CA50F0-BCCF-45C8-AD84-500FB42D2DEE}"/>
          </ac:grpSpMkLst>
        </pc:grpChg>
      </pc:sldChg>
      <pc:sldChg chg="ord">
        <pc:chgData name="Neubauer Mario" userId="1339e2f0-a547-47c8-a4de-7ef5a197ad25" providerId="ADAL" clId="{74FAE3CE-AD32-471B-A4BC-22A949FF67D2}" dt="2022-11-22T11:54:50.945" v="12"/>
        <pc:sldMkLst>
          <pc:docMk/>
          <pc:sldMk cId="595824307" sldId="7427"/>
        </pc:sldMkLst>
      </pc:sldChg>
      <pc:sldChg chg="mod modShow">
        <pc:chgData name="Neubauer Mario" userId="1339e2f0-a547-47c8-a4de-7ef5a197ad25" providerId="ADAL" clId="{74FAE3CE-AD32-471B-A4BC-22A949FF67D2}" dt="2022-11-22T12:17:05.480" v="25" actId="729"/>
        <pc:sldMkLst>
          <pc:docMk/>
          <pc:sldMk cId="149714026" sldId="7431"/>
        </pc:sldMkLst>
      </pc:sldChg>
      <pc:sldChg chg="mod modShow">
        <pc:chgData name="Neubauer Mario" userId="1339e2f0-a547-47c8-a4de-7ef5a197ad25" providerId="ADAL" clId="{74FAE3CE-AD32-471B-A4BC-22A949FF67D2}" dt="2022-11-22T12:17:10.770" v="27" actId="729"/>
        <pc:sldMkLst>
          <pc:docMk/>
          <pc:sldMk cId="853498889" sldId="7432"/>
        </pc:sldMkLst>
      </pc:sldChg>
      <pc:sldChg chg="mod modShow">
        <pc:chgData name="Neubauer Mario" userId="1339e2f0-a547-47c8-a4de-7ef5a197ad25" providerId="ADAL" clId="{74FAE3CE-AD32-471B-A4BC-22A949FF67D2}" dt="2022-11-22T12:17:12.880" v="28" actId="729"/>
        <pc:sldMkLst>
          <pc:docMk/>
          <pc:sldMk cId="1807807724" sldId="7433"/>
        </pc:sldMkLst>
      </pc:sldChg>
      <pc:sldChg chg="addSp delSp modSp mod">
        <pc:chgData name="Neubauer Mario" userId="1339e2f0-a547-47c8-a4de-7ef5a197ad25" providerId="ADAL" clId="{74FAE3CE-AD32-471B-A4BC-22A949FF67D2}" dt="2022-11-22T14:14:15.328" v="272" actId="13926"/>
        <pc:sldMkLst>
          <pc:docMk/>
          <pc:sldMk cId="2011870840" sldId="7434"/>
        </pc:sldMkLst>
        <pc:spChg chg="mod">
          <ac:chgData name="Neubauer Mario" userId="1339e2f0-a547-47c8-a4de-7ef5a197ad25" providerId="ADAL" clId="{74FAE3CE-AD32-471B-A4BC-22A949FF67D2}" dt="2022-11-22T14:13:37.457" v="269" actId="20577"/>
          <ac:spMkLst>
            <pc:docMk/>
            <pc:sldMk cId="2011870840" sldId="7434"/>
            <ac:spMk id="5" creationId="{B57B3059-B801-481F-B971-534443B065A0}"/>
          </ac:spMkLst>
        </pc:spChg>
        <pc:spChg chg="mod">
          <ac:chgData name="Neubauer Mario" userId="1339e2f0-a547-47c8-a4de-7ef5a197ad25" providerId="ADAL" clId="{74FAE3CE-AD32-471B-A4BC-22A949FF67D2}" dt="2022-11-22T14:13:33.517" v="261"/>
          <ac:spMkLst>
            <pc:docMk/>
            <pc:sldMk cId="2011870840" sldId="7434"/>
            <ac:spMk id="6" creationId="{33E0C508-D2F8-4F25-98D2-FC494A6803E6}"/>
          </ac:spMkLst>
        </pc:spChg>
        <pc:spChg chg="add mod">
          <ac:chgData name="Neubauer Mario" userId="1339e2f0-a547-47c8-a4de-7ef5a197ad25" providerId="ADAL" clId="{74FAE3CE-AD32-471B-A4BC-22A949FF67D2}" dt="2022-11-22T14:13:08.219" v="257" actId="20577"/>
          <ac:spMkLst>
            <pc:docMk/>
            <pc:sldMk cId="2011870840" sldId="7434"/>
            <ac:spMk id="11" creationId="{0CEB47BF-2D93-4312-B73E-AF04B66D101F}"/>
          </ac:spMkLst>
        </pc:spChg>
        <pc:spChg chg="add mod">
          <ac:chgData name="Neubauer Mario" userId="1339e2f0-a547-47c8-a4de-7ef5a197ad25" providerId="ADAL" clId="{74FAE3CE-AD32-471B-A4BC-22A949FF67D2}" dt="2022-11-22T14:12:56.715" v="224" actId="1076"/>
          <ac:spMkLst>
            <pc:docMk/>
            <pc:sldMk cId="2011870840" sldId="7434"/>
            <ac:spMk id="13" creationId="{E090FD48-1254-453A-B367-6A0017C3112A}"/>
          </ac:spMkLst>
        </pc:spChg>
        <pc:graphicFrameChg chg="modGraphic">
          <ac:chgData name="Neubauer Mario" userId="1339e2f0-a547-47c8-a4de-7ef5a197ad25" providerId="ADAL" clId="{74FAE3CE-AD32-471B-A4BC-22A949FF67D2}" dt="2022-11-22T14:14:15.328" v="272" actId="13926"/>
          <ac:graphicFrameMkLst>
            <pc:docMk/>
            <pc:sldMk cId="2011870840" sldId="7434"/>
            <ac:graphicFrameMk id="9" creationId="{6EEEB2CE-157E-48BE-8FE7-1CD1D3301BF8}"/>
          </ac:graphicFrameMkLst>
        </pc:graphicFrameChg>
        <pc:picChg chg="del">
          <ac:chgData name="Neubauer Mario" userId="1339e2f0-a547-47c8-a4de-7ef5a197ad25" providerId="ADAL" clId="{74FAE3CE-AD32-471B-A4BC-22A949FF67D2}" dt="2022-11-22T14:04:50.270" v="33" actId="478"/>
          <ac:picMkLst>
            <pc:docMk/>
            <pc:sldMk cId="2011870840" sldId="7434"/>
            <ac:picMk id="8" creationId="{59E6DF1C-5B7F-4317-B695-27512D43901C}"/>
          </ac:picMkLst>
        </pc:picChg>
      </pc:sldChg>
      <pc:sldChg chg="mod modShow">
        <pc:chgData name="Neubauer Mario" userId="1339e2f0-a547-47c8-a4de-7ef5a197ad25" providerId="ADAL" clId="{74FAE3CE-AD32-471B-A4BC-22A949FF67D2}" dt="2022-11-22T12:17:29.143" v="29" actId="729"/>
        <pc:sldMkLst>
          <pc:docMk/>
          <pc:sldMk cId="796895243" sldId="7435"/>
        </pc:sldMkLst>
      </pc:sldChg>
      <pc:sldChg chg="addSp delSp modSp new mod modClrScheme chgLayout">
        <pc:chgData name="Neubauer Mario" userId="1339e2f0-a547-47c8-a4de-7ef5a197ad25" providerId="ADAL" clId="{74FAE3CE-AD32-471B-A4BC-22A949FF67D2}" dt="2022-11-22T14:20:58.824" v="295" actId="20577"/>
        <pc:sldMkLst>
          <pc:docMk/>
          <pc:sldMk cId="1249575431" sldId="7436"/>
        </pc:sldMkLst>
        <pc:spChg chg="del mod ord">
          <ac:chgData name="Neubauer Mario" userId="1339e2f0-a547-47c8-a4de-7ef5a197ad25" providerId="ADAL" clId="{74FAE3CE-AD32-471B-A4BC-22A949FF67D2}" dt="2022-11-22T14:20:40.830" v="274" actId="700"/>
          <ac:spMkLst>
            <pc:docMk/>
            <pc:sldMk cId="1249575431" sldId="7436"/>
            <ac:spMk id="2" creationId="{E93F32FB-5F30-4C9A-B4A6-A5C4C730F79F}"/>
          </ac:spMkLst>
        </pc:spChg>
        <pc:spChg chg="del">
          <ac:chgData name="Neubauer Mario" userId="1339e2f0-a547-47c8-a4de-7ef5a197ad25" providerId="ADAL" clId="{74FAE3CE-AD32-471B-A4BC-22A949FF67D2}" dt="2022-11-22T14:20:40.830" v="274" actId="700"/>
          <ac:spMkLst>
            <pc:docMk/>
            <pc:sldMk cId="1249575431" sldId="7436"/>
            <ac:spMk id="3" creationId="{02B30164-3BF3-41A7-BAEF-FDEE01123471}"/>
          </ac:spMkLst>
        </pc:spChg>
        <pc:spChg chg="del mod ord">
          <ac:chgData name="Neubauer Mario" userId="1339e2f0-a547-47c8-a4de-7ef5a197ad25" providerId="ADAL" clId="{74FAE3CE-AD32-471B-A4BC-22A949FF67D2}" dt="2022-11-22T14:20:40.830" v="274" actId="700"/>
          <ac:spMkLst>
            <pc:docMk/>
            <pc:sldMk cId="1249575431" sldId="7436"/>
            <ac:spMk id="4" creationId="{B9B2D425-E4F0-4836-9B6D-D68AC85D6623}"/>
          </ac:spMkLst>
        </pc:spChg>
        <pc:spChg chg="add mod ord">
          <ac:chgData name="Neubauer Mario" userId="1339e2f0-a547-47c8-a4de-7ef5a197ad25" providerId="ADAL" clId="{74FAE3CE-AD32-471B-A4BC-22A949FF67D2}" dt="2022-11-22T14:20:58.824" v="295" actId="20577"/>
          <ac:spMkLst>
            <pc:docMk/>
            <pc:sldMk cId="1249575431" sldId="7436"/>
            <ac:spMk id="5" creationId="{673A3CE8-8ED0-49F3-9CC3-F0BC6B5ED6D6}"/>
          </ac:spMkLst>
        </pc:spChg>
        <pc:spChg chg="add mod ord">
          <ac:chgData name="Neubauer Mario" userId="1339e2f0-a547-47c8-a4de-7ef5a197ad25" providerId="ADAL" clId="{74FAE3CE-AD32-471B-A4BC-22A949FF67D2}" dt="2022-11-22T14:20:42.771" v="278" actId="20577"/>
          <ac:spMkLst>
            <pc:docMk/>
            <pc:sldMk cId="1249575431" sldId="7436"/>
            <ac:spMk id="6" creationId="{76D9663C-6313-40AE-B77E-04B5377013B4}"/>
          </ac:spMkLst>
        </pc:spChg>
        <pc:spChg chg="add mod ord">
          <ac:chgData name="Neubauer Mario" userId="1339e2f0-a547-47c8-a4de-7ef5a197ad25" providerId="ADAL" clId="{74FAE3CE-AD32-471B-A4BC-22A949FF67D2}" dt="2022-11-22T14:20:40.830" v="274" actId="700"/>
          <ac:spMkLst>
            <pc:docMk/>
            <pc:sldMk cId="1249575431" sldId="7436"/>
            <ac:spMk id="7" creationId="{2DA8737F-13F0-4E61-A8CF-2108662C068A}"/>
          </ac:spMkLst>
        </pc:spChg>
      </pc:sldChg>
      <pc:sldChg chg="modSp add mod">
        <pc:chgData name="Neubauer Mario" userId="1339e2f0-a547-47c8-a4de-7ef5a197ad25" providerId="ADAL" clId="{74FAE3CE-AD32-471B-A4BC-22A949FF67D2}" dt="2022-11-22T14:21:02.818" v="312" actId="20577"/>
        <pc:sldMkLst>
          <pc:docMk/>
          <pc:sldMk cId="2780986700" sldId="7437"/>
        </pc:sldMkLst>
        <pc:spChg chg="mod">
          <ac:chgData name="Neubauer Mario" userId="1339e2f0-a547-47c8-a4de-7ef5a197ad25" providerId="ADAL" clId="{74FAE3CE-AD32-471B-A4BC-22A949FF67D2}" dt="2022-11-22T14:21:02.818" v="312" actId="20577"/>
          <ac:spMkLst>
            <pc:docMk/>
            <pc:sldMk cId="2780986700" sldId="7437"/>
            <ac:spMk id="5" creationId="{673A3CE8-8ED0-49F3-9CC3-F0BC6B5ED6D6}"/>
          </ac:spMkLst>
        </pc:spChg>
      </pc:sldChg>
      <pc:sldChg chg="modSp add mod">
        <pc:chgData name="Neubauer Mario" userId="1339e2f0-a547-47c8-a4de-7ef5a197ad25" providerId="ADAL" clId="{74FAE3CE-AD32-471B-A4BC-22A949FF67D2}" dt="2022-11-22T14:21:25.252" v="356" actId="20577"/>
        <pc:sldMkLst>
          <pc:docMk/>
          <pc:sldMk cId="829297311" sldId="7438"/>
        </pc:sldMkLst>
        <pc:spChg chg="mod">
          <ac:chgData name="Neubauer Mario" userId="1339e2f0-a547-47c8-a4de-7ef5a197ad25" providerId="ADAL" clId="{74FAE3CE-AD32-471B-A4BC-22A949FF67D2}" dt="2022-11-22T14:21:25.252" v="356" actId="20577"/>
          <ac:spMkLst>
            <pc:docMk/>
            <pc:sldMk cId="829297311" sldId="7438"/>
            <ac:spMk id="5" creationId="{673A3CE8-8ED0-49F3-9CC3-F0BC6B5ED6D6}"/>
          </ac:spMkLst>
        </pc:spChg>
      </pc:sldChg>
      <pc:sldChg chg="addSp delSp modSp new mod modClrScheme chgLayout">
        <pc:chgData name="Neubauer Mario" userId="1339e2f0-a547-47c8-a4de-7ef5a197ad25" providerId="ADAL" clId="{74FAE3CE-AD32-471B-A4BC-22A949FF67D2}" dt="2022-11-22T14:48:25.739" v="402" actId="14861"/>
        <pc:sldMkLst>
          <pc:docMk/>
          <pc:sldMk cId="1310420526" sldId="7439"/>
        </pc:sldMkLst>
        <pc:spChg chg="del mod ord">
          <ac:chgData name="Neubauer Mario" userId="1339e2f0-a547-47c8-a4de-7ef5a197ad25" providerId="ADAL" clId="{74FAE3CE-AD32-471B-A4BC-22A949FF67D2}" dt="2022-11-22T14:21:44.594" v="358" actId="700"/>
          <ac:spMkLst>
            <pc:docMk/>
            <pc:sldMk cId="1310420526" sldId="7439"/>
            <ac:spMk id="2" creationId="{B573A04D-8C2B-40F7-876D-3781F33563C5}"/>
          </ac:spMkLst>
        </pc:spChg>
        <pc:spChg chg="del mod ord">
          <ac:chgData name="Neubauer Mario" userId="1339e2f0-a547-47c8-a4de-7ef5a197ad25" providerId="ADAL" clId="{74FAE3CE-AD32-471B-A4BC-22A949FF67D2}" dt="2022-11-22T14:21:44.594" v="358" actId="700"/>
          <ac:spMkLst>
            <pc:docMk/>
            <pc:sldMk cId="1310420526" sldId="7439"/>
            <ac:spMk id="3" creationId="{F2C8D2CB-8D57-4EE0-AC4F-EA20827F6F9A}"/>
          </ac:spMkLst>
        </pc:spChg>
        <pc:spChg chg="del">
          <ac:chgData name="Neubauer Mario" userId="1339e2f0-a547-47c8-a4de-7ef5a197ad25" providerId="ADAL" clId="{74FAE3CE-AD32-471B-A4BC-22A949FF67D2}" dt="2022-11-22T14:21:44.594" v="358" actId="700"/>
          <ac:spMkLst>
            <pc:docMk/>
            <pc:sldMk cId="1310420526" sldId="7439"/>
            <ac:spMk id="4" creationId="{0CEB32F9-6FB4-48B6-AA34-EE233C6948E7}"/>
          </ac:spMkLst>
        </pc:spChg>
        <pc:spChg chg="add mod ord">
          <ac:chgData name="Neubauer Mario" userId="1339e2f0-a547-47c8-a4de-7ef5a197ad25" providerId="ADAL" clId="{74FAE3CE-AD32-471B-A4BC-22A949FF67D2}" dt="2022-11-22T14:47:21.598" v="394" actId="20577"/>
          <ac:spMkLst>
            <pc:docMk/>
            <pc:sldMk cId="1310420526" sldId="7439"/>
            <ac:spMk id="5" creationId="{2F89589B-9DC6-4599-8970-1B90F5A59325}"/>
          </ac:spMkLst>
        </pc:spChg>
        <pc:spChg chg="add mod ord">
          <ac:chgData name="Neubauer Mario" userId="1339e2f0-a547-47c8-a4de-7ef5a197ad25" providerId="ADAL" clId="{74FAE3CE-AD32-471B-A4BC-22A949FF67D2}" dt="2022-11-22T14:46:57.367" v="378" actId="20577"/>
          <ac:spMkLst>
            <pc:docMk/>
            <pc:sldMk cId="1310420526" sldId="7439"/>
            <ac:spMk id="6" creationId="{1AC5B7BC-23CB-4487-9C62-47832E7DC1C8}"/>
          </ac:spMkLst>
        </pc:spChg>
        <pc:spChg chg="add mod ord">
          <ac:chgData name="Neubauer Mario" userId="1339e2f0-a547-47c8-a4de-7ef5a197ad25" providerId="ADAL" clId="{74FAE3CE-AD32-471B-A4BC-22A949FF67D2}" dt="2022-11-22T14:48:03.623" v="401" actId="167"/>
          <ac:spMkLst>
            <pc:docMk/>
            <pc:sldMk cId="1310420526" sldId="7439"/>
            <ac:spMk id="11" creationId="{695C768E-23F2-4D83-963C-30BB194BE1A2}"/>
          </ac:spMkLst>
        </pc:spChg>
        <pc:picChg chg="add del mod">
          <ac:chgData name="Neubauer Mario" userId="1339e2f0-a547-47c8-a4de-7ef5a197ad25" providerId="ADAL" clId="{74FAE3CE-AD32-471B-A4BC-22A949FF67D2}" dt="2022-11-22T14:46:10.406" v="368" actId="478"/>
          <ac:picMkLst>
            <pc:docMk/>
            <pc:sldMk cId="1310420526" sldId="7439"/>
            <ac:picMk id="8" creationId="{801A1CD5-1C45-4075-BD64-CC38923354F8}"/>
          </ac:picMkLst>
        </pc:picChg>
        <pc:picChg chg="add mod">
          <ac:chgData name="Neubauer Mario" userId="1339e2f0-a547-47c8-a4de-7ef5a197ad25" providerId="ADAL" clId="{74FAE3CE-AD32-471B-A4BC-22A949FF67D2}" dt="2022-11-22T14:48:25.739" v="402" actId="14861"/>
          <ac:picMkLst>
            <pc:docMk/>
            <pc:sldMk cId="1310420526" sldId="7439"/>
            <ac:picMk id="10" creationId="{69B53CAD-818B-4FE1-B020-EF0AD7075A7E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10.11.2.122\TEams\ITRA\02_Output\Digital_Forensics_eDiscovery\Pr&#228;sentationen\20200326_Corona%20DomainStatistic\Domain%20Tools%20Statstic_v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Domain Tools Statstic_v2.xlsx]Pivot + Diagramm!PivotTable5</c:name>
    <c:fmtId val="-1"/>
  </c:pivotSource>
  <c:chart>
    <c:autoTitleDeleted val="1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lineChart>
        <c:grouping val="standard"/>
        <c:varyColors val="0"/>
        <c:ser>
          <c:idx val="1"/>
          <c:order val="1"/>
          <c:tx>
            <c:strRef>
              <c:f>'Pivot + Diagramm'!$C$3</c:f>
              <c:strCache>
                <c:ptCount val="1"/>
                <c:pt idx="0">
                  <c:v>Summe der Covid-19 Fäll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Pivot + Diagramm'!$A$4:$A$89</c:f>
              <c:strCache>
                <c:ptCount val="85"/>
                <c:pt idx="0">
                  <c:v>01.Jän</c:v>
                </c:pt>
                <c:pt idx="1">
                  <c:v>02.Jän</c:v>
                </c:pt>
                <c:pt idx="2">
                  <c:v>03.Jän</c:v>
                </c:pt>
                <c:pt idx="3">
                  <c:v>04.Jän</c:v>
                </c:pt>
                <c:pt idx="4">
                  <c:v>05.Jän</c:v>
                </c:pt>
                <c:pt idx="5">
                  <c:v>06.Jän</c:v>
                </c:pt>
                <c:pt idx="6">
                  <c:v>07.Jän</c:v>
                </c:pt>
                <c:pt idx="7">
                  <c:v>08.Jän</c:v>
                </c:pt>
                <c:pt idx="8">
                  <c:v>09.Jän</c:v>
                </c:pt>
                <c:pt idx="9">
                  <c:v>10.Jän</c:v>
                </c:pt>
                <c:pt idx="10">
                  <c:v>11.Jän</c:v>
                </c:pt>
                <c:pt idx="11">
                  <c:v>12.Jän</c:v>
                </c:pt>
                <c:pt idx="12">
                  <c:v>13.Jän</c:v>
                </c:pt>
                <c:pt idx="13">
                  <c:v>14.Jän</c:v>
                </c:pt>
                <c:pt idx="14">
                  <c:v>15.Jän</c:v>
                </c:pt>
                <c:pt idx="15">
                  <c:v>16.Jän</c:v>
                </c:pt>
                <c:pt idx="16">
                  <c:v>17.Jän</c:v>
                </c:pt>
                <c:pt idx="17">
                  <c:v>18.Jän</c:v>
                </c:pt>
                <c:pt idx="18">
                  <c:v>19.Jän</c:v>
                </c:pt>
                <c:pt idx="19">
                  <c:v>20.Jän</c:v>
                </c:pt>
                <c:pt idx="20">
                  <c:v>21.Jän</c:v>
                </c:pt>
                <c:pt idx="21">
                  <c:v>22.Jän</c:v>
                </c:pt>
                <c:pt idx="22">
                  <c:v>23.Jän</c:v>
                </c:pt>
                <c:pt idx="23">
                  <c:v>24.Jän</c:v>
                </c:pt>
                <c:pt idx="24">
                  <c:v>25.Jän</c:v>
                </c:pt>
                <c:pt idx="25">
                  <c:v>26.Jän</c:v>
                </c:pt>
                <c:pt idx="26">
                  <c:v>27.Jän</c:v>
                </c:pt>
                <c:pt idx="27">
                  <c:v>28.Jän</c:v>
                </c:pt>
                <c:pt idx="28">
                  <c:v>29.Jän</c:v>
                </c:pt>
                <c:pt idx="29">
                  <c:v>30.Jän</c:v>
                </c:pt>
                <c:pt idx="30">
                  <c:v>31.Jän</c:v>
                </c:pt>
                <c:pt idx="31">
                  <c:v>01.Feb</c:v>
                </c:pt>
                <c:pt idx="32">
                  <c:v>02.Feb</c:v>
                </c:pt>
                <c:pt idx="33">
                  <c:v>03.Feb</c:v>
                </c:pt>
                <c:pt idx="34">
                  <c:v>04.Feb</c:v>
                </c:pt>
                <c:pt idx="35">
                  <c:v>05.Feb</c:v>
                </c:pt>
                <c:pt idx="36">
                  <c:v>06.Feb</c:v>
                </c:pt>
                <c:pt idx="37">
                  <c:v>07.Feb</c:v>
                </c:pt>
                <c:pt idx="38">
                  <c:v>08.Feb</c:v>
                </c:pt>
                <c:pt idx="39">
                  <c:v>09.Feb</c:v>
                </c:pt>
                <c:pt idx="40">
                  <c:v>10.Feb</c:v>
                </c:pt>
                <c:pt idx="41">
                  <c:v>11.Feb</c:v>
                </c:pt>
                <c:pt idx="42">
                  <c:v>12.Feb</c:v>
                </c:pt>
                <c:pt idx="43">
                  <c:v>13.Feb</c:v>
                </c:pt>
                <c:pt idx="44">
                  <c:v>14.Feb</c:v>
                </c:pt>
                <c:pt idx="45">
                  <c:v>15.Feb</c:v>
                </c:pt>
                <c:pt idx="46">
                  <c:v>16.Feb</c:v>
                </c:pt>
                <c:pt idx="47">
                  <c:v>17.Feb</c:v>
                </c:pt>
                <c:pt idx="48">
                  <c:v>18.Feb</c:v>
                </c:pt>
                <c:pt idx="49">
                  <c:v>19.Feb</c:v>
                </c:pt>
                <c:pt idx="50">
                  <c:v>20.Feb</c:v>
                </c:pt>
                <c:pt idx="51">
                  <c:v>21.Feb</c:v>
                </c:pt>
                <c:pt idx="52">
                  <c:v>22.Feb</c:v>
                </c:pt>
                <c:pt idx="53">
                  <c:v>23.Feb</c:v>
                </c:pt>
                <c:pt idx="54">
                  <c:v>24.Feb</c:v>
                </c:pt>
                <c:pt idx="55">
                  <c:v>25.Feb</c:v>
                </c:pt>
                <c:pt idx="56">
                  <c:v>26.Feb</c:v>
                </c:pt>
                <c:pt idx="57">
                  <c:v>27.Feb</c:v>
                </c:pt>
                <c:pt idx="58">
                  <c:v>28.Feb</c:v>
                </c:pt>
                <c:pt idx="59">
                  <c:v>29.Feb</c:v>
                </c:pt>
                <c:pt idx="60">
                  <c:v>01.Mär</c:v>
                </c:pt>
                <c:pt idx="61">
                  <c:v>02.Mär</c:v>
                </c:pt>
                <c:pt idx="62">
                  <c:v>03.Mär</c:v>
                </c:pt>
                <c:pt idx="63">
                  <c:v>04.Mär</c:v>
                </c:pt>
                <c:pt idx="64">
                  <c:v>05.Mär</c:v>
                </c:pt>
                <c:pt idx="65">
                  <c:v>06.Mär</c:v>
                </c:pt>
                <c:pt idx="66">
                  <c:v>07.Mär</c:v>
                </c:pt>
                <c:pt idx="67">
                  <c:v>08.Mär</c:v>
                </c:pt>
                <c:pt idx="68">
                  <c:v>09.Mär</c:v>
                </c:pt>
                <c:pt idx="69">
                  <c:v>10.Mär</c:v>
                </c:pt>
                <c:pt idx="70">
                  <c:v>11.Mär</c:v>
                </c:pt>
                <c:pt idx="71">
                  <c:v>12.Mär</c:v>
                </c:pt>
                <c:pt idx="72">
                  <c:v>13.Mär</c:v>
                </c:pt>
                <c:pt idx="73">
                  <c:v>14.Mär</c:v>
                </c:pt>
                <c:pt idx="74">
                  <c:v>15.Mär</c:v>
                </c:pt>
                <c:pt idx="75">
                  <c:v>16.Mär</c:v>
                </c:pt>
                <c:pt idx="76">
                  <c:v>17.Mär</c:v>
                </c:pt>
                <c:pt idx="77">
                  <c:v>18.Mär</c:v>
                </c:pt>
                <c:pt idx="78">
                  <c:v>19.Mär</c:v>
                </c:pt>
                <c:pt idx="79">
                  <c:v>20.Mär</c:v>
                </c:pt>
                <c:pt idx="80">
                  <c:v>21.Mär</c:v>
                </c:pt>
                <c:pt idx="81">
                  <c:v>22.Mär</c:v>
                </c:pt>
                <c:pt idx="82">
                  <c:v>23.Mär</c:v>
                </c:pt>
                <c:pt idx="83">
                  <c:v>24.Mär</c:v>
                </c:pt>
                <c:pt idx="84">
                  <c:v>25.Mär</c:v>
                </c:pt>
              </c:strCache>
            </c:strRef>
          </c:cat>
          <c:val>
            <c:numRef>
              <c:f>'Pivot + Diagramm'!$C$4:$C$89</c:f>
              <c:numCache>
                <c:formatCode>General</c:formatCode>
                <c:ptCount val="8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580</c:v>
                </c:pt>
                <c:pt idx="22">
                  <c:v>845</c:v>
                </c:pt>
                <c:pt idx="23">
                  <c:v>1317</c:v>
                </c:pt>
                <c:pt idx="24">
                  <c:v>2015</c:v>
                </c:pt>
                <c:pt idx="25">
                  <c:v>2800</c:v>
                </c:pt>
                <c:pt idx="26">
                  <c:v>4581</c:v>
                </c:pt>
                <c:pt idx="27">
                  <c:v>6058</c:v>
                </c:pt>
                <c:pt idx="28">
                  <c:v>7813</c:v>
                </c:pt>
                <c:pt idx="29">
                  <c:v>9823</c:v>
                </c:pt>
                <c:pt idx="30">
                  <c:v>11950</c:v>
                </c:pt>
                <c:pt idx="31">
                  <c:v>14553</c:v>
                </c:pt>
                <c:pt idx="32">
                  <c:v>17391</c:v>
                </c:pt>
                <c:pt idx="33">
                  <c:v>20630</c:v>
                </c:pt>
                <c:pt idx="34">
                  <c:v>24545</c:v>
                </c:pt>
                <c:pt idx="35">
                  <c:v>28266</c:v>
                </c:pt>
                <c:pt idx="36">
                  <c:v>31439</c:v>
                </c:pt>
                <c:pt idx="37">
                  <c:v>34876</c:v>
                </c:pt>
                <c:pt idx="38">
                  <c:v>37552</c:v>
                </c:pt>
                <c:pt idx="39">
                  <c:v>40553</c:v>
                </c:pt>
                <c:pt idx="40">
                  <c:v>43099</c:v>
                </c:pt>
                <c:pt idx="41">
                  <c:v>45134</c:v>
                </c:pt>
                <c:pt idx="42">
                  <c:v>59287</c:v>
                </c:pt>
                <c:pt idx="43">
                  <c:v>64438</c:v>
                </c:pt>
                <c:pt idx="44">
                  <c:v>67100</c:v>
                </c:pt>
                <c:pt idx="45">
                  <c:v>69197</c:v>
                </c:pt>
                <c:pt idx="46">
                  <c:v>71329</c:v>
                </c:pt>
                <c:pt idx="47">
                  <c:v>73332</c:v>
                </c:pt>
                <c:pt idx="48">
                  <c:v>75184</c:v>
                </c:pt>
                <c:pt idx="49">
                  <c:v>75700</c:v>
                </c:pt>
                <c:pt idx="50">
                  <c:v>76677</c:v>
                </c:pt>
                <c:pt idx="51">
                  <c:v>77673</c:v>
                </c:pt>
                <c:pt idx="52">
                  <c:v>78651</c:v>
                </c:pt>
                <c:pt idx="53">
                  <c:v>79205</c:v>
                </c:pt>
                <c:pt idx="54">
                  <c:v>80087</c:v>
                </c:pt>
                <c:pt idx="55">
                  <c:v>80828</c:v>
                </c:pt>
                <c:pt idx="56">
                  <c:v>81820</c:v>
                </c:pt>
                <c:pt idx="57">
                  <c:v>83112</c:v>
                </c:pt>
                <c:pt idx="58">
                  <c:v>84615</c:v>
                </c:pt>
                <c:pt idx="59">
                  <c:v>86604</c:v>
                </c:pt>
                <c:pt idx="60">
                  <c:v>88585</c:v>
                </c:pt>
                <c:pt idx="61">
                  <c:v>90443</c:v>
                </c:pt>
                <c:pt idx="62">
                  <c:v>93016</c:v>
                </c:pt>
                <c:pt idx="63">
                  <c:v>95314</c:v>
                </c:pt>
                <c:pt idx="64">
                  <c:v>98425</c:v>
                </c:pt>
                <c:pt idx="65">
                  <c:v>102050</c:v>
                </c:pt>
                <c:pt idx="66">
                  <c:v>106099</c:v>
                </c:pt>
                <c:pt idx="67">
                  <c:v>109991</c:v>
                </c:pt>
                <c:pt idx="68">
                  <c:v>114381</c:v>
                </c:pt>
                <c:pt idx="69">
                  <c:v>118948</c:v>
                </c:pt>
                <c:pt idx="70">
                  <c:v>126214</c:v>
                </c:pt>
                <c:pt idx="71">
                  <c:v>134509</c:v>
                </c:pt>
                <c:pt idx="72">
                  <c:v>145416</c:v>
                </c:pt>
                <c:pt idx="73">
                  <c:v>156475</c:v>
                </c:pt>
                <c:pt idx="74">
                  <c:v>169517</c:v>
                </c:pt>
                <c:pt idx="75">
                  <c:v>182414</c:v>
                </c:pt>
                <c:pt idx="76">
                  <c:v>198159</c:v>
                </c:pt>
                <c:pt idx="77">
                  <c:v>218744</c:v>
                </c:pt>
                <c:pt idx="78">
                  <c:v>244902</c:v>
                </c:pt>
                <c:pt idx="79">
                  <c:v>275550</c:v>
                </c:pt>
                <c:pt idx="80">
                  <c:v>304979</c:v>
                </c:pt>
                <c:pt idx="81">
                  <c:v>337459</c:v>
                </c:pt>
                <c:pt idx="82">
                  <c:v>378830</c:v>
                </c:pt>
                <c:pt idx="83">
                  <c:v>422574</c:v>
                </c:pt>
                <c:pt idx="84">
                  <c:v>471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3DE-41C5-BA00-9A298B24B0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3432152"/>
        <c:axId val="723429528"/>
      </c:lineChart>
      <c:lineChart>
        <c:grouping val="standard"/>
        <c:varyColors val="0"/>
        <c:ser>
          <c:idx val="0"/>
          <c:order val="0"/>
          <c:tx>
            <c:strRef>
              <c:f>'Pivot + Diagramm'!$B$3</c:f>
              <c:strCache>
                <c:ptCount val="1"/>
                <c:pt idx="0">
                  <c:v>Summe der Corona-Domains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Pivot + Diagramm'!$A$4:$A$89</c:f>
              <c:strCache>
                <c:ptCount val="85"/>
                <c:pt idx="0">
                  <c:v>01.Jän</c:v>
                </c:pt>
                <c:pt idx="1">
                  <c:v>02.Jän</c:v>
                </c:pt>
                <c:pt idx="2">
                  <c:v>03.Jän</c:v>
                </c:pt>
                <c:pt idx="3">
                  <c:v>04.Jän</c:v>
                </c:pt>
                <c:pt idx="4">
                  <c:v>05.Jän</c:v>
                </c:pt>
                <c:pt idx="5">
                  <c:v>06.Jän</c:v>
                </c:pt>
                <c:pt idx="6">
                  <c:v>07.Jän</c:v>
                </c:pt>
                <c:pt idx="7">
                  <c:v>08.Jän</c:v>
                </c:pt>
                <c:pt idx="8">
                  <c:v>09.Jän</c:v>
                </c:pt>
                <c:pt idx="9">
                  <c:v>10.Jän</c:v>
                </c:pt>
                <c:pt idx="10">
                  <c:v>11.Jän</c:v>
                </c:pt>
                <c:pt idx="11">
                  <c:v>12.Jän</c:v>
                </c:pt>
                <c:pt idx="12">
                  <c:v>13.Jän</c:v>
                </c:pt>
                <c:pt idx="13">
                  <c:v>14.Jän</c:v>
                </c:pt>
                <c:pt idx="14">
                  <c:v>15.Jän</c:v>
                </c:pt>
                <c:pt idx="15">
                  <c:v>16.Jän</c:v>
                </c:pt>
                <c:pt idx="16">
                  <c:v>17.Jän</c:v>
                </c:pt>
                <c:pt idx="17">
                  <c:v>18.Jän</c:v>
                </c:pt>
                <c:pt idx="18">
                  <c:v>19.Jän</c:v>
                </c:pt>
                <c:pt idx="19">
                  <c:v>20.Jän</c:v>
                </c:pt>
                <c:pt idx="20">
                  <c:v>21.Jän</c:v>
                </c:pt>
                <c:pt idx="21">
                  <c:v>22.Jän</c:v>
                </c:pt>
                <c:pt idx="22">
                  <c:v>23.Jän</c:v>
                </c:pt>
                <c:pt idx="23">
                  <c:v>24.Jän</c:v>
                </c:pt>
                <c:pt idx="24">
                  <c:v>25.Jän</c:v>
                </c:pt>
                <c:pt idx="25">
                  <c:v>26.Jän</c:v>
                </c:pt>
                <c:pt idx="26">
                  <c:v>27.Jän</c:v>
                </c:pt>
                <c:pt idx="27">
                  <c:v>28.Jän</c:v>
                </c:pt>
                <c:pt idx="28">
                  <c:v>29.Jän</c:v>
                </c:pt>
                <c:pt idx="29">
                  <c:v>30.Jän</c:v>
                </c:pt>
                <c:pt idx="30">
                  <c:v>31.Jän</c:v>
                </c:pt>
                <c:pt idx="31">
                  <c:v>01.Feb</c:v>
                </c:pt>
                <c:pt idx="32">
                  <c:v>02.Feb</c:v>
                </c:pt>
                <c:pt idx="33">
                  <c:v>03.Feb</c:v>
                </c:pt>
                <c:pt idx="34">
                  <c:v>04.Feb</c:v>
                </c:pt>
                <c:pt idx="35">
                  <c:v>05.Feb</c:v>
                </c:pt>
                <c:pt idx="36">
                  <c:v>06.Feb</c:v>
                </c:pt>
                <c:pt idx="37">
                  <c:v>07.Feb</c:v>
                </c:pt>
                <c:pt idx="38">
                  <c:v>08.Feb</c:v>
                </c:pt>
                <c:pt idx="39">
                  <c:v>09.Feb</c:v>
                </c:pt>
                <c:pt idx="40">
                  <c:v>10.Feb</c:v>
                </c:pt>
                <c:pt idx="41">
                  <c:v>11.Feb</c:v>
                </c:pt>
                <c:pt idx="42">
                  <c:v>12.Feb</c:v>
                </c:pt>
                <c:pt idx="43">
                  <c:v>13.Feb</c:v>
                </c:pt>
                <c:pt idx="44">
                  <c:v>14.Feb</c:v>
                </c:pt>
                <c:pt idx="45">
                  <c:v>15.Feb</c:v>
                </c:pt>
                <c:pt idx="46">
                  <c:v>16.Feb</c:v>
                </c:pt>
                <c:pt idx="47">
                  <c:v>17.Feb</c:v>
                </c:pt>
                <c:pt idx="48">
                  <c:v>18.Feb</c:v>
                </c:pt>
                <c:pt idx="49">
                  <c:v>19.Feb</c:v>
                </c:pt>
                <c:pt idx="50">
                  <c:v>20.Feb</c:v>
                </c:pt>
                <c:pt idx="51">
                  <c:v>21.Feb</c:v>
                </c:pt>
                <c:pt idx="52">
                  <c:v>22.Feb</c:v>
                </c:pt>
                <c:pt idx="53">
                  <c:v>23.Feb</c:v>
                </c:pt>
                <c:pt idx="54">
                  <c:v>24.Feb</c:v>
                </c:pt>
                <c:pt idx="55">
                  <c:v>25.Feb</c:v>
                </c:pt>
                <c:pt idx="56">
                  <c:v>26.Feb</c:v>
                </c:pt>
                <c:pt idx="57">
                  <c:v>27.Feb</c:v>
                </c:pt>
                <c:pt idx="58">
                  <c:v>28.Feb</c:v>
                </c:pt>
                <c:pt idx="59">
                  <c:v>29.Feb</c:v>
                </c:pt>
                <c:pt idx="60">
                  <c:v>01.Mär</c:v>
                </c:pt>
                <c:pt idx="61">
                  <c:v>02.Mär</c:v>
                </c:pt>
                <c:pt idx="62">
                  <c:v>03.Mär</c:v>
                </c:pt>
                <c:pt idx="63">
                  <c:v>04.Mär</c:v>
                </c:pt>
                <c:pt idx="64">
                  <c:v>05.Mär</c:v>
                </c:pt>
                <c:pt idx="65">
                  <c:v>06.Mär</c:v>
                </c:pt>
                <c:pt idx="66">
                  <c:v>07.Mär</c:v>
                </c:pt>
                <c:pt idx="67">
                  <c:v>08.Mär</c:v>
                </c:pt>
                <c:pt idx="68">
                  <c:v>09.Mär</c:v>
                </c:pt>
                <c:pt idx="69">
                  <c:v>10.Mär</c:v>
                </c:pt>
                <c:pt idx="70">
                  <c:v>11.Mär</c:v>
                </c:pt>
                <c:pt idx="71">
                  <c:v>12.Mär</c:v>
                </c:pt>
                <c:pt idx="72">
                  <c:v>13.Mär</c:v>
                </c:pt>
                <c:pt idx="73">
                  <c:v>14.Mär</c:v>
                </c:pt>
                <c:pt idx="74">
                  <c:v>15.Mär</c:v>
                </c:pt>
                <c:pt idx="75">
                  <c:v>16.Mär</c:v>
                </c:pt>
                <c:pt idx="76">
                  <c:v>17.Mär</c:v>
                </c:pt>
                <c:pt idx="77">
                  <c:v>18.Mär</c:v>
                </c:pt>
                <c:pt idx="78">
                  <c:v>19.Mär</c:v>
                </c:pt>
                <c:pt idx="79">
                  <c:v>20.Mär</c:v>
                </c:pt>
                <c:pt idx="80">
                  <c:v>21.Mär</c:v>
                </c:pt>
                <c:pt idx="81">
                  <c:v>22.Mär</c:v>
                </c:pt>
                <c:pt idx="82">
                  <c:v>23.Mär</c:v>
                </c:pt>
                <c:pt idx="83">
                  <c:v>24.Mär</c:v>
                </c:pt>
                <c:pt idx="84">
                  <c:v>25.Mär</c:v>
                </c:pt>
              </c:strCache>
            </c:strRef>
          </c:cat>
          <c:val>
            <c:numRef>
              <c:f>'Pivot + Diagramm'!$B$4:$B$89</c:f>
              <c:numCache>
                <c:formatCode>General</c:formatCode>
                <c:ptCount val="85"/>
                <c:pt idx="0">
                  <c:v>7</c:v>
                </c:pt>
                <c:pt idx="1">
                  <c:v>13</c:v>
                </c:pt>
                <c:pt idx="2">
                  <c:v>18</c:v>
                </c:pt>
                <c:pt idx="3">
                  <c:v>22</c:v>
                </c:pt>
                <c:pt idx="4">
                  <c:v>26</c:v>
                </c:pt>
                <c:pt idx="5">
                  <c:v>31</c:v>
                </c:pt>
                <c:pt idx="6">
                  <c:v>39</c:v>
                </c:pt>
                <c:pt idx="7">
                  <c:v>53</c:v>
                </c:pt>
                <c:pt idx="8">
                  <c:v>74</c:v>
                </c:pt>
                <c:pt idx="9">
                  <c:v>82</c:v>
                </c:pt>
                <c:pt idx="10">
                  <c:v>91</c:v>
                </c:pt>
                <c:pt idx="11">
                  <c:v>96</c:v>
                </c:pt>
                <c:pt idx="12">
                  <c:v>106</c:v>
                </c:pt>
                <c:pt idx="13">
                  <c:v>118</c:v>
                </c:pt>
                <c:pt idx="14">
                  <c:v>126</c:v>
                </c:pt>
                <c:pt idx="15">
                  <c:v>131</c:v>
                </c:pt>
                <c:pt idx="16">
                  <c:v>145</c:v>
                </c:pt>
                <c:pt idx="17">
                  <c:v>163</c:v>
                </c:pt>
                <c:pt idx="18">
                  <c:v>180</c:v>
                </c:pt>
                <c:pt idx="19">
                  <c:v>198</c:v>
                </c:pt>
                <c:pt idx="20">
                  <c:v>264</c:v>
                </c:pt>
                <c:pt idx="21">
                  <c:v>326</c:v>
                </c:pt>
                <c:pt idx="22">
                  <c:v>415</c:v>
                </c:pt>
                <c:pt idx="23">
                  <c:v>544</c:v>
                </c:pt>
                <c:pt idx="24">
                  <c:v>681</c:v>
                </c:pt>
                <c:pt idx="25">
                  <c:v>833</c:v>
                </c:pt>
                <c:pt idx="26">
                  <c:v>993</c:v>
                </c:pt>
                <c:pt idx="27">
                  <c:v>1160</c:v>
                </c:pt>
                <c:pt idx="28">
                  <c:v>1328</c:v>
                </c:pt>
                <c:pt idx="29">
                  <c:v>1489</c:v>
                </c:pt>
                <c:pt idx="30">
                  <c:v>1683</c:v>
                </c:pt>
                <c:pt idx="31">
                  <c:v>1814</c:v>
                </c:pt>
                <c:pt idx="32">
                  <c:v>1932</c:v>
                </c:pt>
                <c:pt idx="33">
                  <c:v>2084</c:v>
                </c:pt>
                <c:pt idx="34">
                  <c:v>2146</c:v>
                </c:pt>
                <c:pt idx="35">
                  <c:v>2266</c:v>
                </c:pt>
                <c:pt idx="36">
                  <c:v>2399</c:v>
                </c:pt>
                <c:pt idx="37">
                  <c:v>2527</c:v>
                </c:pt>
                <c:pt idx="38">
                  <c:v>2635</c:v>
                </c:pt>
                <c:pt idx="39">
                  <c:v>2740</c:v>
                </c:pt>
                <c:pt idx="40">
                  <c:v>2858</c:v>
                </c:pt>
                <c:pt idx="41">
                  <c:v>3719</c:v>
                </c:pt>
                <c:pt idx="42">
                  <c:v>4252</c:v>
                </c:pt>
                <c:pt idx="43">
                  <c:v>4471</c:v>
                </c:pt>
                <c:pt idx="44">
                  <c:v>4677</c:v>
                </c:pt>
                <c:pt idx="45">
                  <c:v>4761</c:v>
                </c:pt>
                <c:pt idx="46">
                  <c:v>4885</c:v>
                </c:pt>
                <c:pt idx="47">
                  <c:v>4991</c:v>
                </c:pt>
                <c:pt idx="48">
                  <c:v>5094</c:v>
                </c:pt>
                <c:pt idx="49">
                  <c:v>5185</c:v>
                </c:pt>
                <c:pt idx="50">
                  <c:v>5282</c:v>
                </c:pt>
                <c:pt idx="51">
                  <c:v>5395</c:v>
                </c:pt>
                <c:pt idx="52">
                  <c:v>5567</c:v>
                </c:pt>
                <c:pt idx="53">
                  <c:v>5833</c:v>
                </c:pt>
                <c:pt idx="54">
                  <c:v>6177</c:v>
                </c:pt>
                <c:pt idx="55">
                  <c:v>6665</c:v>
                </c:pt>
                <c:pt idx="56">
                  <c:v>7485</c:v>
                </c:pt>
                <c:pt idx="57">
                  <c:v>8427</c:v>
                </c:pt>
                <c:pt idx="58">
                  <c:v>9372</c:v>
                </c:pt>
                <c:pt idx="59">
                  <c:v>10136</c:v>
                </c:pt>
                <c:pt idx="60">
                  <c:v>10843</c:v>
                </c:pt>
                <c:pt idx="61">
                  <c:v>11633</c:v>
                </c:pt>
                <c:pt idx="62">
                  <c:v>12455</c:v>
                </c:pt>
                <c:pt idx="63">
                  <c:v>13592</c:v>
                </c:pt>
                <c:pt idx="64">
                  <c:v>14514</c:v>
                </c:pt>
                <c:pt idx="65">
                  <c:v>15693</c:v>
                </c:pt>
                <c:pt idx="66">
                  <c:v>16758</c:v>
                </c:pt>
                <c:pt idx="67">
                  <c:v>17430</c:v>
                </c:pt>
                <c:pt idx="68">
                  <c:v>18677</c:v>
                </c:pt>
                <c:pt idx="69">
                  <c:v>20054</c:v>
                </c:pt>
                <c:pt idx="70">
                  <c:v>21829</c:v>
                </c:pt>
                <c:pt idx="71">
                  <c:v>25203</c:v>
                </c:pt>
                <c:pt idx="72">
                  <c:v>28943</c:v>
                </c:pt>
                <c:pt idx="73">
                  <c:v>32332</c:v>
                </c:pt>
                <c:pt idx="74">
                  <c:v>35686</c:v>
                </c:pt>
                <c:pt idx="75">
                  <c:v>39718</c:v>
                </c:pt>
                <c:pt idx="76">
                  <c:v>43612</c:v>
                </c:pt>
                <c:pt idx="77">
                  <c:v>47842</c:v>
                </c:pt>
                <c:pt idx="78">
                  <c:v>51914</c:v>
                </c:pt>
                <c:pt idx="79">
                  <c:v>56241</c:v>
                </c:pt>
                <c:pt idx="80">
                  <c:v>59916</c:v>
                </c:pt>
                <c:pt idx="81">
                  <c:v>63481</c:v>
                </c:pt>
                <c:pt idx="82">
                  <c:v>66738</c:v>
                </c:pt>
                <c:pt idx="83">
                  <c:v>68687</c:v>
                </c:pt>
                <c:pt idx="84">
                  <c:v>68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3DE-41C5-BA00-9A298B24B0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8008760"/>
        <c:axId val="501905456"/>
      </c:lineChart>
      <c:catAx>
        <c:axId val="7234321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dd/mm/yyyy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23429528"/>
        <c:crosses val="autoZero"/>
        <c:auto val="1"/>
        <c:lblAlgn val="ctr"/>
        <c:lblOffset val="100"/>
        <c:tickLblSkip val="7"/>
        <c:tickMarkSkip val="7"/>
        <c:noMultiLvlLbl val="0"/>
      </c:catAx>
      <c:valAx>
        <c:axId val="723429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AT" baseline="0" dirty="0">
                    <a:solidFill>
                      <a:srgbClr val="000000"/>
                    </a:solidFill>
                  </a:rPr>
                  <a:t>Tausend Covid-19 Fälle</a:t>
                </a:r>
              </a:p>
            </c:rich>
          </c:tx>
          <c:layout>
            <c:manualLayout>
              <c:xMode val="edge"/>
              <c:yMode val="edge"/>
              <c:x val="5.2531581721285943E-3"/>
              <c:y val="7.6881169754490858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23432152"/>
        <c:crosses val="autoZero"/>
        <c:crossBetween val="midCat"/>
        <c:dispUnits>
          <c:builtInUnit val="thousands"/>
        </c:dispUnits>
      </c:valAx>
      <c:valAx>
        <c:axId val="501905456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AT" baseline="0" dirty="0">
                    <a:solidFill>
                      <a:srgbClr val="000000"/>
                    </a:solidFill>
                  </a:rPr>
                  <a:t>Tausend Corona-Domains</a:t>
                </a:r>
              </a:p>
            </c:rich>
          </c:tx>
          <c:layout>
            <c:manualLayout>
              <c:xMode val="edge"/>
              <c:yMode val="edge"/>
              <c:x val="0.96815970959392517"/>
              <c:y val="9.02463082544784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8008760"/>
        <c:crosses val="max"/>
        <c:crossBetween val="between"/>
        <c:dispUnits>
          <c:builtInUnit val="thousands"/>
        </c:dispUnits>
      </c:valAx>
      <c:catAx>
        <c:axId val="6780087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019054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ittel</c:v>
                </c:pt>
              </c:strCache>
            </c:strRef>
          </c:tx>
          <c:spPr>
            <a:solidFill>
              <a:srgbClr val="FDC33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4</c:f>
              <c:strCache>
                <c:ptCount val="13"/>
                <c:pt idx="0">
                  <c:v>Atlassian</c:v>
                </c:pt>
                <c:pt idx="1">
                  <c:v>Soliton Systems K.K.</c:v>
                </c:pt>
                <c:pt idx="2">
                  <c:v>Sophos</c:v>
                </c:pt>
                <c:pt idx="3">
                  <c:v>VMware, Inc.</c:v>
                </c:pt>
                <c:pt idx="4">
                  <c:v>F5 Networks</c:v>
                </c:pt>
                <c:pt idx="5">
                  <c:v>Palo Alto Networks</c:v>
                </c:pt>
                <c:pt idx="6">
                  <c:v>QNAP Systems Inc.</c:v>
                </c:pt>
                <c:pt idx="7">
                  <c:v>Fortinet</c:v>
                </c:pt>
                <c:pt idx="8">
                  <c:v>SonicWall</c:v>
                </c:pt>
                <c:pt idx="9">
                  <c:v>Accellion</c:v>
                </c:pt>
                <c:pt idx="10">
                  <c:v>Citrix</c:v>
                </c:pt>
                <c:pt idx="11">
                  <c:v>Pulse Secure</c:v>
                </c:pt>
                <c:pt idx="12">
                  <c:v>Microsoft</c:v>
                </c:pt>
              </c:strCache>
            </c:strRef>
          </c:cat>
          <c:val>
            <c:numRef>
              <c:f>Tabelle1!$B$2:$B$14</c:f>
              <c:numCache>
                <c:formatCode>General</c:formatCode>
                <c:ptCount val="13"/>
                <c:pt idx="6">
                  <c:v>1</c:v>
                </c:pt>
                <c:pt idx="10">
                  <c:v>2</c:v>
                </c:pt>
                <c:pt idx="1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6F-4B48-941F-6A0F2EE20A5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Hoch</c:v>
                </c:pt>
              </c:strCache>
            </c:strRef>
          </c:tx>
          <c:spPr>
            <a:solidFill>
              <a:srgbClr val="EE933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4</c:f>
              <c:strCache>
                <c:ptCount val="13"/>
                <c:pt idx="0">
                  <c:v>Atlassian</c:v>
                </c:pt>
                <c:pt idx="1">
                  <c:v>Soliton Systems K.K.</c:v>
                </c:pt>
                <c:pt idx="2">
                  <c:v>Sophos</c:v>
                </c:pt>
                <c:pt idx="3">
                  <c:v>VMware, Inc.</c:v>
                </c:pt>
                <c:pt idx="4">
                  <c:v>F5 Networks</c:v>
                </c:pt>
                <c:pt idx="5">
                  <c:v>Palo Alto Networks</c:v>
                </c:pt>
                <c:pt idx="6">
                  <c:v>QNAP Systems Inc.</c:v>
                </c:pt>
                <c:pt idx="7">
                  <c:v>Fortinet</c:v>
                </c:pt>
                <c:pt idx="8">
                  <c:v>SonicWall</c:v>
                </c:pt>
                <c:pt idx="9">
                  <c:v>Accellion</c:v>
                </c:pt>
                <c:pt idx="10">
                  <c:v>Citrix</c:v>
                </c:pt>
                <c:pt idx="11">
                  <c:v>Pulse Secure</c:v>
                </c:pt>
                <c:pt idx="12">
                  <c:v>Microsoft</c:v>
                </c:pt>
              </c:strCache>
            </c:strRef>
          </c:cat>
          <c:val>
            <c:numRef>
              <c:f>Tabelle1!$C$2:$C$14</c:f>
              <c:numCache>
                <c:formatCode>General</c:formatCode>
                <c:ptCount val="13"/>
                <c:pt idx="1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3</c:v>
                </c:pt>
                <c:pt idx="11">
                  <c:v>3</c:v>
                </c:pt>
                <c:pt idx="1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6F-4B48-941F-6A0F2EE20A5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ritisch</c:v>
                </c:pt>
              </c:strCache>
            </c:strRef>
          </c:tx>
          <c:spPr>
            <a:solidFill>
              <a:srgbClr val="D43F3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4</c:f>
              <c:strCache>
                <c:ptCount val="13"/>
                <c:pt idx="0">
                  <c:v>Atlassian</c:v>
                </c:pt>
                <c:pt idx="1">
                  <c:v>Soliton Systems K.K.</c:v>
                </c:pt>
                <c:pt idx="2">
                  <c:v>Sophos</c:v>
                </c:pt>
                <c:pt idx="3">
                  <c:v>VMware, Inc.</c:v>
                </c:pt>
                <c:pt idx="4">
                  <c:v>F5 Networks</c:v>
                </c:pt>
                <c:pt idx="5">
                  <c:v>Palo Alto Networks</c:v>
                </c:pt>
                <c:pt idx="6">
                  <c:v>QNAP Systems Inc.</c:v>
                </c:pt>
                <c:pt idx="7">
                  <c:v>Fortinet</c:v>
                </c:pt>
                <c:pt idx="8">
                  <c:v>SonicWall</c:v>
                </c:pt>
                <c:pt idx="9">
                  <c:v>Accellion</c:v>
                </c:pt>
                <c:pt idx="10">
                  <c:v>Citrix</c:v>
                </c:pt>
                <c:pt idx="11">
                  <c:v>Pulse Secure</c:v>
                </c:pt>
                <c:pt idx="12">
                  <c:v>Microsoft</c:v>
                </c:pt>
              </c:strCache>
            </c:strRef>
          </c:cat>
          <c:val>
            <c:numRef>
              <c:f>Tabelle1!$D$2:$D$14</c:f>
              <c:numCache>
                <c:formatCode>General</c:formatCode>
                <c:ptCount val="13"/>
                <c:pt idx="0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  <c:pt idx="10">
                  <c:v>2</c:v>
                </c:pt>
                <c:pt idx="11">
                  <c:v>2</c:v>
                </c:pt>
                <c:pt idx="1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6F-4B48-941F-6A0F2EE20A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421281368"/>
        <c:axId val="421283992"/>
      </c:barChart>
      <c:catAx>
        <c:axId val="4212813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21283992"/>
        <c:crosses val="autoZero"/>
        <c:auto val="1"/>
        <c:lblAlgn val="ctr"/>
        <c:lblOffset val="100"/>
        <c:noMultiLvlLbl val="0"/>
      </c:catAx>
      <c:valAx>
        <c:axId val="42128399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21281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rgbClr val="E7E7E7"/>
      </a:solidFill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pPr>
            <a:r>
              <a:rPr lang="en-US" sz="1600" dirty="0" err="1">
                <a:solidFill>
                  <a:srgbClr val="404040"/>
                </a:solidFill>
              </a:rPr>
              <a:t>Anzahl</a:t>
            </a:r>
            <a:r>
              <a:rPr lang="en-US" sz="1600" dirty="0">
                <a:solidFill>
                  <a:srgbClr val="404040"/>
                </a:solidFill>
              </a:rPr>
              <a:t> </a:t>
            </a:r>
            <a:r>
              <a:rPr lang="en-US" sz="1600" dirty="0" err="1">
                <a:solidFill>
                  <a:srgbClr val="404040"/>
                </a:solidFill>
              </a:rPr>
              <a:t>gemeldeter</a:t>
            </a:r>
            <a:r>
              <a:rPr lang="en-US" sz="1600" dirty="0">
                <a:solidFill>
                  <a:srgbClr val="404040"/>
                </a:solidFill>
              </a:rPr>
              <a:t> </a:t>
            </a:r>
            <a:r>
              <a:rPr lang="en-US" sz="1600" dirty="0" err="1">
                <a:solidFill>
                  <a:srgbClr val="404040"/>
                </a:solidFill>
              </a:rPr>
              <a:t>Schwachstellen</a:t>
            </a:r>
            <a:r>
              <a:rPr lang="en-US" sz="1600" baseline="0" dirty="0">
                <a:solidFill>
                  <a:srgbClr val="404040"/>
                </a:solidFill>
              </a:rPr>
              <a:t> pro </a:t>
            </a:r>
            <a:r>
              <a:rPr lang="en-US" sz="1600" baseline="0" dirty="0" err="1">
                <a:solidFill>
                  <a:srgbClr val="404040"/>
                </a:solidFill>
              </a:rPr>
              <a:t>Jahr</a:t>
            </a:r>
            <a:endParaRPr lang="en-US" sz="1600" dirty="0">
              <a:solidFill>
                <a:srgbClr val="40404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404040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chwachstellen</c:v>
                </c:pt>
              </c:strCache>
            </c:strRef>
          </c:tx>
          <c:spPr>
            <a:solidFill>
              <a:srgbClr val="657C9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404040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4714</c:v>
                </c:pt>
                <c:pt idx="1">
                  <c:v>16557</c:v>
                </c:pt>
                <c:pt idx="2">
                  <c:v>17344</c:v>
                </c:pt>
                <c:pt idx="3">
                  <c:v>18325</c:v>
                </c:pt>
                <c:pt idx="4">
                  <c:v>20169</c:v>
                </c:pt>
                <c:pt idx="5">
                  <c:v>25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ED-4F3A-85E6-D6C900B599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2837160"/>
        <c:axId val="652837488"/>
      </c:barChart>
      <c:catAx>
        <c:axId val="652837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52837488"/>
        <c:crosses val="autoZero"/>
        <c:auto val="1"/>
        <c:lblAlgn val="ctr"/>
        <c:lblOffset val="100"/>
        <c:noMultiLvlLbl val="0"/>
      </c:catAx>
      <c:valAx>
        <c:axId val="652837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52837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876" cy="496253"/>
          </a:xfrm>
          <a:prstGeom prst="rect">
            <a:avLst/>
          </a:prstGeom>
        </p:spPr>
        <p:txBody>
          <a:bodyPr vert="horz" lIns="92415" tIns="46208" rIns="92415" bIns="4620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182" y="0"/>
            <a:ext cx="2945876" cy="496253"/>
          </a:xfrm>
          <a:prstGeom prst="rect">
            <a:avLst/>
          </a:prstGeom>
        </p:spPr>
        <p:txBody>
          <a:bodyPr vert="horz" lIns="92415" tIns="46208" rIns="92415" bIns="46208" rtlCol="0"/>
          <a:lstStyle>
            <a:lvl1pPr algn="r">
              <a:defRPr sz="1200"/>
            </a:lvl1pPr>
          </a:lstStyle>
          <a:p>
            <a:fld id="{0704EE2D-8E68-45C2-91A2-97AB5AFDB7DF}" type="datetimeFigureOut">
              <a:rPr lang="en-GB" smtClean="0"/>
              <a:t>24/03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790"/>
            <a:ext cx="2945876" cy="496252"/>
          </a:xfrm>
          <a:prstGeom prst="rect">
            <a:avLst/>
          </a:prstGeom>
        </p:spPr>
        <p:txBody>
          <a:bodyPr vert="horz" lIns="92415" tIns="46208" rIns="92415" bIns="4620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182" y="9428790"/>
            <a:ext cx="2945876" cy="496252"/>
          </a:xfrm>
          <a:prstGeom prst="rect">
            <a:avLst/>
          </a:prstGeom>
        </p:spPr>
        <p:txBody>
          <a:bodyPr vert="horz" lIns="92415" tIns="46208" rIns="92415" bIns="46208" rtlCol="0" anchor="b"/>
          <a:lstStyle>
            <a:lvl1pPr algn="r">
              <a:defRPr sz="1200"/>
            </a:lvl1pPr>
          </a:lstStyle>
          <a:p>
            <a:fld id="{B504D91C-F276-43BD-92D0-B3F59C804B6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80612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2"/>
          </a:xfrm>
          <a:prstGeom prst="rect">
            <a:avLst/>
          </a:prstGeom>
        </p:spPr>
        <p:txBody>
          <a:bodyPr vert="horz" lIns="92415" tIns="46208" rIns="92415" bIns="46208" rtlCol="0"/>
          <a:lstStyle>
            <a:lvl1pPr algn="l">
              <a:defRPr sz="1200">
                <a:latin typeface="Trebuchet MS" panose="020B0603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60" cy="496332"/>
          </a:xfrm>
          <a:prstGeom prst="rect">
            <a:avLst/>
          </a:prstGeom>
        </p:spPr>
        <p:txBody>
          <a:bodyPr vert="horz" lIns="92415" tIns="46208" rIns="92415" bIns="46208" rtlCol="0"/>
          <a:lstStyle>
            <a:lvl1pPr algn="r">
              <a:defRPr sz="1200">
                <a:latin typeface="Trebuchet MS" panose="020B0603020202020204" pitchFamily="34" charset="0"/>
              </a:defRPr>
            </a:lvl1pPr>
          </a:lstStyle>
          <a:p>
            <a:fld id="{8C84B294-90A5-43D3-AA05-30DA43B8D1C2}" type="datetimeFigureOut">
              <a:rPr lang="en-US" smtClean="0"/>
              <a:pPr/>
              <a:t>3/2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69938" y="746125"/>
            <a:ext cx="525780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5" tIns="46208" rIns="92415" bIns="46208" rtlCol="0" anchor="ctr"/>
          <a:lstStyle/>
          <a:p>
            <a:endParaRPr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2415" tIns="46208" rIns="92415" bIns="46208" rtlCol="0"/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6332"/>
          </a:xfrm>
          <a:prstGeom prst="rect">
            <a:avLst/>
          </a:prstGeom>
        </p:spPr>
        <p:txBody>
          <a:bodyPr vert="horz" lIns="92415" tIns="46208" rIns="92415" bIns="46208" rtlCol="0" anchor="b"/>
          <a:lstStyle>
            <a:lvl1pPr algn="l">
              <a:defRPr sz="1200">
                <a:latin typeface="Trebuchet MS" panose="020B0603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60" cy="496332"/>
          </a:xfrm>
          <a:prstGeom prst="rect">
            <a:avLst/>
          </a:prstGeom>
        </p:spPr>
        <p:txBody>
          <a:bodyPr vert="horz" lIns="92415" tIns="46208" rIns="92415" bIns="46208" rtlCol="0" anchor="b"/>
          <a:lstStyle>
            <a:lvl1pPr algn="r">
              <a:defRPr sz="1200">
                <a:latin typeface="Trebuchet MS" panose="020B0603020202020204" pitchFamily="34" charset="0"/>
              </a:defRPr>
            </a:lvl1pPr>
          </a:lstStyle>
          <a:p>
            <a:fld id="{51DB576D-7168-47E3-BCB3-98A193A3E45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2674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6246" rtl="0" eaLnBrk="1" latinLnBrk="0" hangingPunct="1">
      <a:defRPr sz="13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1pPr>
    <a:lvl2pPr marL="483123" algn="l" defTabSz="966246" rtl="0" eaLnBrk="1" latinLnBrk="0" hangingPunct="1">
      <a:defRPr sz="13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2pPr>
    <a:lvl3pPr marL="966246" algn="l" defTabSz="966246" rtl="0" eaLnBrk="1" latinLnBrk="0" hangingPunct="1">
      <a:defRPr sz="13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3pPr>
    <a:lvl4pPr marL="1449370" algn="l" defTabSz="966246" rtl="0" eaLnBrk="1" latinLnBrk="0" hangingPunct="1">
      <a:defRPr sz="13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4pPr>
    <a:lvl5pPr marL="1932493" algn="l" defTabSz="966246" rtl="0" eaLnBrk="1" latinLnBrk="0" hangingPunct="1">
      <a:defRPr sz="1300" kern="1200">
        <a:solidFill>
          <a:schemeClr val="tx1"/>
        </a:solidFill>
        <a:latin typeface="Trebuchet MS" panose="020B0603020202020204" pitchFamily="34" charset="0"/>
        <a:ea typeface="+mn-ea"/>
        <a:cs typeface="+mn-cs"/>
      </a:defRPr>
    </a:lvl5pPr>
    <a:lvl6pPr marL="2415616" algn="l" defTabSz="96624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98739" algn="l" defTabSz="96624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81863" algn="l" defTabSz="96624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64986" algn="l" defTabSz="96624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DB576D-7168-47E3-BCB3-98A193A3E45A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090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DB576D-7168-47E3-BCB3-98A193A3E4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pPr marL="0" marR="0" lvl="0" indent="0" algn="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9740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DB576D-7168-47E3-BCB3-98A193A3E4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pPr marL="0" marR="0" lvl="0" indent="0" algn="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0298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F3F22AE-14D4-4ACC-AFF1-259B601F7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339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F3F22AE-14D4-4ACC-AFF1-259B601F7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Grafik 24">
            <a:extLst>
              <a:ext uri="{FF2B5EF4-FFF2-40B4-BE49-F238E27FC236}">
                <a16:creationId xmlns:a16="http://schemas.microsoft.com/office/drawing/2014/main" id="{7F5BE8C7-2D6C-40F6-A3B6-9166E8EB8C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04008" y="0"/>
            <a:ext cx="8089392" cy="7559040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0AF1B5F6-1D76-479D-BD72-B6FBC0F40045}"/>
              </a:ext>
            </a:extLst>
          </p:cNvPr>
          <p:cNvGrpSpPr/>
          <p:nvPr userDrawn="1"/>
        </p:nvGrpSpPr>
        <p:grpSpPr>
          <a:xfrm>
            <a:off x="0" y="0"/>
            <a:ext cx="10693400" cy="7561263"/>
            <a:chOff x="0" y="0"/>
            <a:chExt cx="10693400" cy="7561263"/>
          </a:xfrm>
          <a:solidFill>
            <a:srgbClr val="657C91"/>
          </a:solidFill>
        </p:grpSpPr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989E2140-747D-4A94-BECC-08394396F2FC}"/>
                </a:ext>
              </a:extLst>
            </p:cNvPr>
            <p:cNvSpPr/>
            <p:nvPr/>
          </p:nvSpPr>
          <p:spPr>
            <a:xfrm>
              <a:off x="0" y="0"/>
              <a:ext cx="10693400" cy="7561263"/>
            </a:xfrm>
            <a:custGeom>
              <a:avLst/>
              <a:gdLst>
                <a:gd name="connsiteX0" fmla="*/ 0 w 10693400"/>
                <a:gd name="connsiteY0" fmla="*/ 0 h 7561263"/>
                <a:gd name="connsiteX1" fmla="*/ 5140839 w 10693400"/>
                <a:gd name="connsiteY1" fmla="*/ 0 h 7561263"/>
                <a:gd name="connsiteX2" fmla="*/ 5005314 w 10693400"/>
                <a:gd name="connsiteY2" fmla="*/ 61269 h 7561263"/>
                <a:gd name="connsiteX3" fmla="*/ 2850204 w 10693400"/>
                <a:gd name="connsiteY3" fmla="*/ 3490633 h 7561263"/>
                <a:gd name="connsiteX4" fmla="*/ 6654736 w 10693400"/>
                <a:gd name="connsiteY4" fmla="*/ 7295165 h 7561263"/>
                <a:gd name="connsiteX5" fmla="*/ 10459268 w 10693400"/>
                <a:gd name="connsiteY5" fmla="*/ 3490633 h 7561263"/>
                <a:gd name="connsiteX6" fmla="*/ 8304158 w 10693400"/>
                <a:gd name="connsiteY6" fmla="*/ 61269 h 7561263"/>
                <a:gd name="connsiteX7" fmla="*/ 8168634 w 10693400"/>
                <a:gd name="connsiteY7" fmla="*/ 0 h 7561263"/>
                <a:gd name="connsiteX8" fmla="*/ 10693400 w 10693400"/>
                <a:gd name="connsiteY8" fmla="*/ 0 h 7561263"/>
                <a:gd name="connsiteX9" fmla="*/ 10693400 w 10693400"/>
                <a:gd name="connsiteY9" fmla="*/ 7561263 h 7561263"/>
                <a:gd name="connsiteX10" fmla="*/ 0 w 10693400"/>
                <a:gd name="connsiteY10" fmla="*/ 7561263 h 7561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93400" h="7561263">
                  <a:moveTo>
                    <a:pt x="0" y="0"/>
                  </a:moveTo>
                  <a:lnTo>
                    <a:pt x="5140839" y="0"/>
                  </a:lnTo>
                  <a:lnTo>
                    <a:pt x="5005314" y="61269"/>
                  </a:lnTo>
                  <a:cubicBezTo>
                    <a:pt x="3730156" y="675703"/>
                    <a:pt x="2850204" y="1980407"/>
                    <a:pt x="2850204" y="3490633"/>
                  </a:cubicBezTo>
                  <a:cubicBezTo>
                    <a:pt x="2850204" y="5591818"/>
                    <a:pt x="4553551" y="7295165"/>
                    <a:pt x="6654736" y="7295165"/>
                  </a:cubicBezTo>
                  <a:cubicBezTo>
                    <a:pt x="8755921" y="7295165"/>
                    <a:pt x="10459268" y="5591818"/>
                    <a:pt x="10459268" y="3490633"/>
                  </a:cubicBezTo>
                  <a:cubicBezTo>
                    <a:pt x="10459268" y="1980407"/>
                    <a:pt x="9579316" y="675703"/>
                    <a:pt x="8304158" y="61269"/>
                  </a:cubicBezTo>
                  <a:lnTo>
                    <a:pt x="8168634" y="0"/>
                  </a:lnTo>
                  <a:lnTo>
                    <a:pt x="10693400" y="0"/>
                  </a:lnTo>
                  <a:lnTo>
                    <a:pt x="10693400" y="7561263"/>
                  </a:lnTo>
                  <a:lnTo>
                    <a:pt x="0" y="7561263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5926CE2F-ED4C-4315-93AB-1FC630017943}"/>
                </a:ext>
              </a:extLst>
            </p:cNvPr>
            <p:cNvSpPr/>
            <p:nvPr/>
          </p:nvSpPr>
          <p:spPr>
            <a:xfrm>
              <a:off x="6354812" y="0"/>
              <a:ext cx="360000" cy="479857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1BDB79F8-86F3-4CAC-9158-A5ED8C95B951}"/>
                </a:ext>
              </a:extLst>
            </p:cNvPr>
            <p:cNvSpPr/>
            <p:nvPr/>
          </p:nvSpPr>
          <p:spPr>
            <a:xfrm rot="16200000">
              <a:off x="6290674" y="943449"/>
              <a:ext cx="360000" cy="772055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CAF649B1-70F0-4DCE-9B79-8EAF5865804B}"/>
                </a:ext>
              </a:extLst>
            </p:cNvPr>
            <p:cNvSpPr/>
            <p:nvPr/>
          </p:nvSpPr>
          <p:spPr>
            <a:xfrm rot="16200000">
              <a:off x="3505578" y="1805326"/>
              <a:ext cx="2098069" cy="3888434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7DE79BAB-E9A2-4218-80B6-6B6495EC222B}"/>
                </a:ext>
              </a:extLst>
            </p:cNvPr>
            <p:cNvSpPr/>
            <p:nvPr/>
          </p:nvSpPr>
          <p:spPr>
            <a:xfrm rot="16200000">
              <a:off x="8020743" y="-1422053"/>
              <a:ext cx="1044326" cy="3888434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6" name="Group 6">
            <a:extLst>
              <a:ext uri="{FF2B5EF4-FFF2-40B4-BE49-F238E27FC236}">
                <a16:creationId xmlns:a16="http://schemas.microsoft.com/office/drawing/2014/main" id="{81C92A2A-ACFE-482C-8CD1-5D1FF041A710}"/>
              </a:ext>
            </a:extLst>
          </p:cNvPr>
          <p:cNvGrpSpPr/>
          <p:nvPr userDrawn="1"/>
        </p:nvGrpSpPr>
        <p:grpSpPr>
          <a:xfrm rot="10800000">
            <a:off x="660942" y="6215960"/>
            <a:ext cx="184720" cy="1590636"/>
            <a:chOff x="514911" y="0"/>
            <a:chExt cx="121444" cy="1052783"/>
          </a:xfrm>
        </p:grpSpPr>
        <p:sp>
          <p:nvSpPr>
            <p:cNvPr id="7" name="Freeform 12">
              <a:extLst>
                <a:ext uri="{FF2B5EF4-FFF2-40B4-BE49-F238E27FC236}">
                  <a16:creationId xmlns:a16="http://schemas.microsoft.com/office/drawing/2014/main" id="{B4F859FD-319E-45CE-ADEA-9666FA44430D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10800000">
              <a:off x="514911" y="0"/>
              <a:ext cx="121444" cy="461963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0" y="456"/>
                </a:cxn>
                <a:cxn ang="0">
                  <a:pos x="120" y="456"/>
                </a:cxn>
                <a:cxn ang="0">
                  <a:pos x="120" y="0"/>
                </a:cxn>
                <a:cxn ang="0">
                  <a:pos x="0" y="85"/>
                </a:cxn>
              </a:cxnLst>
              <a:rect l="0" t="0" r="r" b="b"/>
              <a:pathLst>
                <a:path w="120" h="456">
                  <a:moveTo>
                    <a:pt x="0" y="85"/>
                  </a:moveTo>
                  <a:lnTo>
                    <a:pt x="0" y="456"/>
                  </a:lnTo>
                  <a:lnTo>
                    <a:pt x="120" y="456"/>
                  </a:lnTo>
                  <a:lnTo>
                    <a:pt x="120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91427" tIns="45714" rIns="91427" bIns="45714"/>
            <a:lstStyle/>
            <a:p>
              <a:pPr algn="ctr">
                <a:defRPr/>
              </a:pPr>
              <a:endParaRPr lang="en-GB" sz="2105"/>
            </a:p>
          </p:txBody>
        </p:sp>
        <p:sp>
          <p:nvSpPr>
            <p:cNvPr id="8" name="Freeform 12">
              <a:extLst>
                <a:ext uri="{FF2B5EF4-FFF2-40B4-BE49-F238E27FC236}">
                  <a16:creationId xmlns:a16="http://schemas.microsoft.com/office/drawing/2014/main" id="{7999E84A-6109-4BBB-A9B5-CB541997D7CF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10800000">
              <a:off x="514911" y="346868"/>
              <a:ext cx="121444" cy="461963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0" y="456"/>
                </a:cxn>
                <a:cxn ang="0">
                  <a:pos x="120" y="456"/>
                </a:cxn>
                <a:cxn ang="0">
                  <a:pos x="120" y="0"/>
                </a:cxn>
                <a:cxn ang="0">
                  <a:pos x="0" y="85"/>
                </a:cxn>
              </a:cxnLst>
              <a:rect l="0" t="0" r="r" b="b"/>
              <a:pathLst>
                <a:path w="120" h="456">
                  <a:moveTo>
                    <a:pt x="0" y="85"/>
                  </a:moveTo>
                  <a:lnTo>
                    <a:pt x="0" y="456"/>
                  </a:lnTo>
                  <a:lnTo>
                    <a:pt x="120" y="456"/>
                  </a:lnTo>
                  <a:lnTo>
                    <a:pt x="120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91427" tIns="45714" rIns="91427" bIns="45714"/>
            <a:lstStyle/>
            <a:p>
              <a:pPr algn="ctr">
                <a:defRPr/>
              </a:pPr>
              <a:endParaRPr lang="en-GB" sz="2105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9A9363F8-A417-493A-924C-4827EFAA4C62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10800000">
              <a:off x="514911" y="590820"/>
              <a:ext cx="121444" cy="461963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0" y="456"/>
                </a:cxn>
                <a:cxn ang="0">
                  <a:pos x="120" y="456"/>
                </a:cxn>
                <a:cxn ang="0">
                  <a:pos x="120" y="0"/>
                </a:cxn>
                <a:cxn ang="0">
                  <a:pos x="0" y="85"/>
                </a:cxn>
              </a:cxnLst>
              <a:rect l="0" t="0" r="r" b="b"/>
              <a:pathLst>
                <a:path w="120" h="456">
                  <a:moveTo>
                    <a:pt x="0" y="85"/>
                  </a:moveTo>
                  <a:lnTo>
                    <a:pt x="0" y="456"/>
                  </a:lnTo>
                  <a:lnTo>
                    <a:pt x="120" y="456"/>
                  </a:lnTo>
                  <a:lnTo>
                    <a:pt x="120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91427" tIns="45714" rIns="91427" bIns="45714"/>
            <a:lstStyle/>
            <a:p>
              <a:pPr algn="ctr">
                <a:defRPr/>
              </a:pPr>
              <a:endParaRPr lang="en-GB" sz="2105" dirty="0"/>
            </a:p>
          </p:txBody>
        </p:sp>
      </p:grpSp>
      <p:grpSp>
        <p:nvGrpSpPr>
          <p:cNvPr id="10" name="Group 6">
            <a:extLst>
              <a:ext uri="{FF2B5EF4-FFF2-40B4-BE49-F238E27FC236}">
                <a16:creationId xmlns:a16="http://schemas.microsoft.com/office/drawing/2014/main" id="{998EBBB7-2D62-4D78-A196-FC1D4C974601}"/>
              </a:ext>
            </a:extLst>
          </p:cNvPr>
          <p:cNvGrpSpPr/>
          <p:nvPr userDrawn="1"/>
        </p:nvGrpSpPr>
        <p:grpSpPr>
          <a:xfrm>
            <a:off x="660943" y="-13457"/>
            <a:ext cx="184720" cy="1590636"/>
            <a:chOff x="514911" y="0"/>
            <a:chExt cx="121444" cy="1052783"/>
          </a:xfrm>
        </p:grpSpPr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59061FB0-4837-489A-B322-A2487ACABC48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10800000">
              <a:off x="514911" y="0"/>
              <a:ext cx="121444" cy="461963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0" y="456"/>
                </a:cxn>
                <a:cxn ang="0">
                  <a:pos x="120" y="456"/>
                </a:cxn>
                <a:cxn ang="0">
                  <a:pos x="120" y="0"/>
                </a:cxn>
                <a:cxn ang="0">
                  <a:pos x="0" y="85"/>
                </a:cxn>
              </a:cxnLst>
              <a:rect l="0" t="0" r="r" b="b"/>
              <a:pathLst>
                <a:path w="120" h="456">
                  <a:moveTo>
                    <a:pt x="0" y="85"/>
                  </a:moveTo>
                  <a:lnTo>
                    <a:pt x="0" y="456"/>
                  </a:lnTo>
                  <a:lnTo>
                    <a:pt x="120" y="456"/>
                  </a:lnTo>
                  <a:lnTo>
                    <a:pt x="120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91427" tIns="45714" rIns="91427" bIns="45714"/>
            <a:lstStyle/>
            <a:p>
              <a:pPr algn="ctr">
                <a:defRPr/>
              </a:pPr>
              <a:endParaRPr lang="en-GB" sz="2105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ED0A6569-DFBA-447E-98B1-067273C19F8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10800000">
              <a:off x="514911" y="346868"/>
              <a:ext cx="121444" cy="461963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0" y="456"/>
                </a:cxn>
                <a:cxn ang="0">
                  <a:pos x="120" y="456"/>
                </a:cxn>
                <a:cxn ang="0">
                  <a:pos x="120" y="0"/>
                </a:cxn>
                <a:cxn ang="0">
                  <a:pos x="0" y="85"/>
                </a:cxn>
              </a:cxnLst>
              <a:rect l="0" t="0" r="r" b="b"/>
              <a:pathLst>
                <a:path w="120" h="456">
                  <a:moveTo>
                    <a:pt x="0" y="85"/>
                  </a:moveTo>
                  <a:lnTo>
                    <a:pt x="0" y="456"/>
                  </a:lnTo>
                  <a:lnTo>
                    <a:pt x="120" y="456"/>
                  </a:lnTo>
                  <a:lnTo>
                    <a:pt x="120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91427" tIns="45714" rIns="91427" bIns="45714"/>
            <a:lstStyle/>
            <a:p>
              <a:pPr algn="ctr">
                <a:defRPr/>
              </a:pPr>
              <a:endParaRPr lang="en-GB" sz="2105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45EF77F4-77F0-4165-8902-24ACD53EBA6C}"/>
                </a:ext>
              </a:extLst>
            </p:cNvPr>
            <p:cNvSpPr>
              <a:spLocks noChangeAspect="1"/>
            </p:cNvSpPr>
            <p:nvPr userDrawn="1"/>
          </p:nvSpPr>
          <p:spPr bwMode="gray">
            <a:xfrm rot="10800000">
              <a:off x="514911" y="590820"/>
              <a:ext cx="121444" cy="461963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0" y="456"/>
                </a:cxn>
                <a:cxn ang="0">
                  <a:pos x="120" y="456"/>
                </a:cxn>
                <a:cxn ang="0">
                  <a:pos x="120" y="0"/>
                </a:cxn>
                <a:cxn ang="0">
                  <a:pos x="0" y="85"/>
                </a:cxn>
              </a:cxnLst>
              <a:rect l="0" t="0" r="r" b="b"/>
              <a:pathLst>
                <a:path w="120" h="456">
                  <a:moveTo>
                    <a:pt x="0" y="85"/>
                  </a:moveTo>
                  <a:lnTo>
                    <a:pt x="0" y="456"/>
                  </a:lnTo>
                  <a:lnTo>
                    <a:pt x="120" y="456"/>
                  </a:lnTo>
                  <a:lnTo>
                    <a:pt x="120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91427" tIns="45714" rIns="91427" bIns="45714"/>
            <a:lstStyle/>
            <a:p>
              <a:pPr algn="ctr">
                <a:defRPr/>
              </a:pPr>
              <a:endParaRPr lang="en-GB" sz="2105" dirty="0"/>
            </a:p>
          </p:txBody>
        </p:sp>
      </p:grpSp>
      <p:sp>
        <p:nvSpPr>
          <p:cNvPr id="14" name="Text Placeholder 29">
            <a:extLst>
              <a:ext uri="{FF2B5EF4-FFF2-40B4-BE49-F238E27FC236}">
                <a16:creationId xmlns:a16="http://schemas.microsoft.com/office/drawing/2014/main" id="{BD88C9C3-30D9-43C7-89EC-96FFA6E651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99459" y="6618365"/>
            <a:ext cx="2300291" cy="6768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100772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1400" b="0" i="1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sz="1323" b="0" cap="all" baseline="0">
                <a:solidFill>
                  <a:schemeClr val="bg1"/>
                </a:solidFill>
              </a:defRPr>
            </a:lvl2pPr>
            <a:lvl3pPr>
              <a:defRPr sz="1323" b="0" cap="all" baseline="0">
                <a:solidFill>
                  <a:schemeClr val="bg1"/>
                </a:solidFill>
              </a:defRPr>
            </a:lvl3pPr>
            <a:lvl4pPr>
              <a:defRPr sz="1323" b="0" cap="all" baseline="0">
                <a:solidFill>
                  <a:schemeClr val="bg1"/>
                </a:solidFill>
              </a:defRPr>
            </a:lvl4pPr>
            <a:lvl5pPr>
              <a:defRPr sz="1323" b="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um, Version, Autor, </a:t>
            </a:r>
            <a:r>
              <a:rPr lang="en-US" dirty="0" err="1"/>
              <a:t>Weitere</a:t>
            </a:r>
            <a:r>
              <a:rPr lang="en-US" dirty="0"/>
              <a:t> </a:t>
            </a:r>
            <a:r>
              <a:rPr lang="en-US" dirty="0" err="1"/>
              <a:t>Informationen</a:t>
            </a:r>
            <a:endParaRPr lang="en-US" dirty="0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863F634-5780-4267-9755-8C314118ED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875" y="5004767"/>
            <a:ext cx="9900000" cy="98708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10077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de-DE" sz="3200" b="0" i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</a:lstStyle>
          <a:p>
            <a:r>
              <a:rPr lang="en-US" dirty="0" err="1"/>
              <a:t>Hier</a:t>
            </a:r>
            <a:r>
              <a:rPr lang="en-US" dirty="0"/>
              <a:t> </a:t>
            </a:r>
            <a:r>
              <a:rPr lang="en-US" dirty="0" err="1"/>
              <a:t>kannst</a:t>
            </a:r>
            <a:r>
              <a:rPr lang="en-US" dirty="0"/>
              <a:t> du </a:t>
            </a:r>
            <a:r>
              <a:rPr lang="en-US" dirty="0" err="1"/>
              <a:t>Titelergänzungen</a:t>
            </a:r>
            <a:r>
              <a:rPr lang="en-US" dirty="0"/>
              <a:t> </a:t>
            </a:r>
            <a:r>
              <a:rPr lang="en-US" dirty="0" err="1"/>
              <a:t>unterbringen</a:t>
            </a:r>
            <a:r>
              <a:rPr lang="en-US" dirty="0"/>
              <a:t>, da der </a:t>
            </a:r>
            <a:r>
              <a:rPr lang="en-US" dirty="0" err="1"/>
              <a:t>Titel</a:t>
            </a:r>
            <a:r>
              <a:rPr lang="en-US" dirty="0"/>
              <a:t> </a:t>
            </a:r>
            <a:r>
              <a:rPr lang="en-US" dirty="0" err="1"/>
              <a:t>nur</a:t>
            </a:r>
            <a:r>
              <a:rPr lang="en-US" dirty="0"/>
              <a:t> </a:t>
            </a:r>
            <a:r>
              <a:rPr lang="en-US" dirty="0" err="1"/>
              <a:t>aus</a:t>
            </a:r>
            <a:r>
              <a:rPr lang="en-US" dirty="0"/>
              <a:t> </a:t>
            </a:r>
            <a:r>
              <a:rPr lang="en-US" dirty="0" err="1"/>
              <a:t>wenigen</a:t>
            </a:r>
            <a:r>
              <a:rPr lang="en-US" dirty="0"/>
              <a:t> </a:t>
            </a:r>
            <a:r>
              <a:rPr lang="en-US" dirty="0" err="1"/>
              <a:t>Worten</a:t>
            </a:r>
            <a:r>
              <a:rPr lang="en-US" dirty="0"/>
              <a:t> </a:t>
            </a:r>
            <a:r>
              <a:rPr lang="en-US" dirty="0" err="1"/>
              <a:t>bestehen</a:t>
            </a:r>
            <a:r>
              <a:rPr lang="en-US" dirty="0"/>
              <a:t> </a:t>
            </a:r>
            <a:r>
              <a:rPr lang="en-US" dirty="0" err="1"/>
              <a:t>sollte</a:t>
            </a:r>
            <a:r>
              <a:rPr lang="en-US" dirty="0"/>
              <a:t>.</a:t>
            </a:r>
            <a:endParaRPr lang="en-GB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119A7C3-867A-4E36-A0BC-DC26DF304C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3712" y="6867162"/>
            <a:ext cx="1114247" cy="428003"/>
          </a:xfrm>
          <a:prstGeom prst="rect">
            <a:avLst/>
          </a:prstGeom>
        </p:spPr>
      </p:pic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C69E03AA-9327-4A7C-A8AD-0E5287F102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6874" y="2396876"/>
            <a:ext cx="9902825" cy="241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AT" sz="9600" b="1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Platz für deinen Titel</a:t>
            </a:r>
          </a:p>
        </p:txBody>
      </p:sp>
    </p:spTree>
    <p:extLst>
      <p:ext uri="{BB962C8B-B14F-4D97-AF65-F5344CB8AC3E}">
        <p14:creationId xmlns:p14="http://schemas.microsoft.com/office/powerpoint/2010/main" val="35079796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0D67E8D-522F-4ADE-9D99-E71B62554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02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0D67E8D-522F-4ADE-9D99-E71B62554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13050F58-047A-4BA8-A5F9-30165135D63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04008" y="0"/>
            <a:ext cx="8089392" cy="7559040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8228816-05AF-4EC1-B8F6-B3C7B60680FB}"/>
              </a:ext>
            </a:extLst>
          </p:cNvPr>
          <p:cNvGrpSpPr/>
          <p:nvPr userDrawn="1"/>
        </p:nvGrpSpPr>
        <p:grpSpPr>
          <a:xfrm>
            <a:off x="0" y="0"/>
            <a:ext cx="10693400" cy="7561263"/>
            <a:chOff x="0" y="0"/>
            <a:chExt cx="10693400" cy="7561263"/>
          </a:xfrm>
          <a:solidFill>
            <a:srgbClr val="657C91"/>
          </a:solidFill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D4D4E18E-9E2A-45E7-AA9D-504F09E6E256}"/>
                </a:ext>
              </a:extLst>
            </p:cNvPr>
            <p:cNvSpPr/>
            <p:nvPr/>
          </p:nvSpPr>
          <p:spPr>
            <a:xfrm>
              <a:off x="0" y="0"/>
              <a:ext cx="10693400" cy="7561263"/>
            </a:xfrm>
            <a:custGeom>
              <a:avLst/>
              <a:gdLst>
                <a:gd name="connsiteX0" fmla="*/ 0 w 10693400"/>
                <a:gd name="connsiteY0" fmla="*/ 0 h 7561263"/>
                <a:gd name="connsiteX1" fmla="*/ 5140839 w 10693400"/>
                <a:gd name="connsiteY1" fmla="*/ 0 h 7561263"/>
                <a:gd name="connsiteX2" fmla="*/ 5005314 w 10693400"/>
                <a:gd name="connsiteY2" fmla="*/ 61269 h 7561263"/>
                <a:gd name="connsiteX3" fmla="*/ 2850204 w 10693400"/>
                <a:gd name="connsiteY3" fmla="*/ 3490633 h 7561263"/>
                <a:gd name="connsiteX4" fmla="*/ 6654736 w 10693400"/>
                <a:gd name="connsiteY4" fmla="*/ 7295165 h 7561263"/>
                <a:gd name="connsiteX5" fmla="*/ 10459268 w 10693400"/>
                <a:gd name="connsiteY5" fmla="*/ 3490633 h 7561263"/>
                <a:gd name="connsiteX6" fmla="*/ 8304158 w 10693400"/>
                <a:gd name="connsiteY6" fmla="*/ 61269 h 7561263"/>
                <a:gd name="connsiteX7" fmla="*/ 8168634 w 10693400"/>
                <a:gd name="connsiteY7" fmla="*/ 0 h 7561263"/>
                <a:gd name="connsiteX8" fmla="*/ 10693400 w 10693400"/>
                <a:gd name="connsiteY8" fmla="*/ 0 h 7561263"/>
                <a:gd name="connsiteX9" fmla="*/ 10693400 w 10693400"/>
                <a:gd name="connsiteY9" fmla="*/ 7561263 h 7561263"/>
                <a:gd name="connsiteX10" fmla="*/ 0 w 10693400"/>
                <a:gd name="connsiteY10" fmla="*/ 7561263 h 7561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693400" h="7561263">
                  <a:moveTo>
                    <a:pt x="0" y="0"/>
                  </a:moveTo>
                  <a:lnTo>
                    <a:pt x="5140839" y="0"/>
                  </a:lnTo>
                  <a:lnTo>
                    <a:pt x="5005314" y="61269"/>
                  </a:lnTo>
                  <a:cubicBezTo>
                    <a:pt x="3730156" y="675703"/>
                    <a:pt x="2850204" y="1980407"/>
                    <a:pt x="2850204" y="3490633"/>
                  </a:cubicBezTo>
                  <a:cubicBezTo>
                    <a:pt x="2850204" y="5591818"/>
                    <a:pt x="4553551" y="7295165"/>
                    <a:pt x="6654736" y="7295165"/>
                  </a:cubicBezTo>
                  <a:cubicBezTo>
                    <a:pt x="8755921" y="7295165"/>
                    <a:pt x="10459268" y="5591818"/>
                    <a:pt x="10459268" y="3490633"/>
                  </a:cubicBezTo>
                  <a:cubicBezTo>
                    <a:pt x="10459268" y="1980407"/>
                    <a:pt x="9579316" y="675703"/>
                    <a:pt x="8304158" y="61269"/>
                  </a:cubicBezTo>
                  <a:lnTo>
                    <a:pt x="8168634" y="0"/>
                  </a:lnTo>
                  <a:lnTo>
                    <a:pt x="10693400" y="0"/>
                  </a:lnTo>
                  <a:lnTo>
                    <a:pt x="10693400" y="7561263"/>
                  </a:lnTo>
                  <a:lnTo>
                    <a:pt x="0" y="7561263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dirty="0" err="1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7CF2B853-41A5-4DA9-AFE4-2E989071D4D9}"/>
                </a:ext>
              </a:extLst>
            </p:cNvPr>
            <p:cNvSpPr/>
            <p:nvPr/>
          </p:nvSpPr>
          <p:spPr>
            <a:xfrm>
              <a:off x="6354812" y="0"/>
              <a:ext cx="360000" cy="479857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dirty="0" err="1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23C9ABE-40C6-4443-984C-735EA0D420AE}"/>
                </a:ext>
              </a:extLst>
            </p:cNvPr>
            <p:cNvSpPr/>
            <p:nvPr/>
          </p:nvSpPr>
          <p:spPr>
            <a:xfrm rot="16200000">
              <a:off x="6290674" y="943449"/>
              <a:ext cx="360000" cy="772055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dirty="0" err="1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DFC6CF36-65EE-4B58-A1DD-718DC885FB4E}"/>
                </a:ext>
              </a:extLst>
            </p:cNvPr>
            <p:cNvSpPr/>
            <p:nvPr/>
          </p:nvSpPr>
          <p:spPr>
            <a:xfrm rot="16200000">
              <a:off x="3505578" y="1805326"/>
              <a:ext cx="2098069" cy="3888434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dirty="0" err="1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9BCD628-4955-4981-A607-193DFCED6D97}"/>
                </a:ext>
              </a:extLst>
            </p:cNvPr>
            <p:cNvSpPr/>
            <p:nvPr/>
          </p:nvSpPr>
          <p:spPr>
            <a:xfrm rot="16200000">
              <a:off x="8020743" y="-1422053"/>
              <a:ext cx="1044326" cy="3888434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dirty="0" err="1"/>
            </a:p>
          </p:txBody>
        </p:sp>
      </p:grpSp>
      <p:pic>
        <p:nvPicPr>
          <p:cNvPr id="6" name="Grafik 5">
            <a:extLst>
              <a:ext uri="{FF2B5EF4-FFF2-40B4-BE49-F238E27FC236}">
                <a16:creationId xmlns:a16="http://schemas.microsoft.com/office/drawing/2014/main" id="{88ED35F2-A55A-4E91-BB2A-66BD76D1BB2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3712" y="6867162"/>
            <a:ext cx="1114247" cy="42800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A4F7FB7-CE15-4BC3-9CDC-3F132424DF0C}"/>
              </a:ext>
            </a:extLst>
          </p:cNvPr>
          <p:cNvSpPr txBox="1"/>
          <p:nvPr userDrawn="1"/>
        </p:nvSpPr>
        <p:spPr>
          <a:xfrm>
            <a:off x="407507" y="2700511"/>
            <a:ext cx="5947305" cy="226489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r>
              <a:rPr lang="de-AT" sz="5000" b="1" cap="all" baseline="0" dirty="0" err="1">
                <a:solidFill>
                  <a:schemeClr val="bg1"/>
                </a:solidFill>
              </a:rPr>
              <a:t>We</a:t>
            </a:r>
            <a:r>
              <a:rPr lang="de-AT" sz="5000" b="1" cap="all" baseline="0" dirty="0">
                <a:solidFill>
                  <a:schemeClr val="bg1"/>
                </a:solidFill>
              </a:rPr>
              <a:t> </a:t>
            </a:r>
            <a:r>
              <a:rPr lang="de-AT" sz="5000" b="1" cap="all" baseline="0" dirty="0" err="1">
                <a:solidFill>
                  <a:schemeClr val="bg1"/>
                </a:solidFill>
              </a:rPr>
              <a:t>search</a:t>
            </a:r>
            <a:r>
              <a:rPr lang="de-AT" sz="5000" b="1" cap="all" baseline="0" dirty="0">
                <a:solidFill>
                  <a:schemeClr val="bg1"/>
                </a:solidFill>
              </a:rPr>
              <a:t> </a:t>
            </a:r>
            <a:r>
              <a:rPr lang="de-AT" sz="5000" b="1" cap="all" baseline="0" dirty="0" err="1">
                <a:solidFill>
                  <a:schemeClr val="bg1"/>
                </a:solidFill>
              </a:rPr>
              <a:t>for</a:t>
            </a:r>
            <a:r>
              <a:rPr lang="de-AT" sz="5000" b="1" cap="all" baseline="0" dirty="0">
                <a:solidFill>
                  <a:schemeClr val="bg1"/>
                </a:solidFill>
              </a:rPr>
              <a:t> </a:t>
            </a:r>
            <a:r>
              <a:rPr lang="de-AT" sz="5000" b="1" cap="all" baseline="0" dirty="0" err="1">
                <a:solidFill>
                  <a:schemeClr val="bg1"/>
                </a:solidFill>
              </a:rPr>
              <a:t>greatness</a:t>
            </a:r>
            <a:r>
              <a:rPr lang="de-AT" sz="5000" b="1" cap="all" baseline="0" dirty="0">
                <a:solidFill>
                  <a:schemeClr val="bg1"/>
                </a:solidFill>
              </a:rPr>
              <a:t>.</a:t>
            </a:r>
            <a:endParaRPr lang="de-AT" sz="5000" b="1" cap="all" baseline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246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E374E8-C432-406D-A7A8-1926BB28D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4000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E374E8-C432-406D-A7A8-1926BB28D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8437B9CF-0BCC-4457-B967-AE9C978B649C}"/>
              </a:ext>
            </a:extLst>
          </p:cNvPr>
          <p:cNvSpPr/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657C9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537881C9-71A0-4D66-A735-C64BA46BDB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2284" y="1296447"/>
            <a:ext cx="6609184" cy="39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AT" sz="8000" b="1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296E887-E9AA-43B3-96A4-3545DB3E2B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76522" y="7109202"/>
            <a:ext cx="721437" cy="275124"/>
          </a:xfrm>
          <a:prstGeom prst="rect">
            <a:avLst/>
          </a:prstGeom>
        </p:spPr>
      </p:pic>
      <p:sp>
        <p:nvSpPr>
          <p:cNvPr id="5" name="Rectangle 167">
            <a:extLst>
              <a:ext uri="{FF2B5EF4-FFF2-40B4-BE49-F238E27FC236}">
                <a16:creationId xmlns:a16="http://schemas.microsoft.com/office/drawing/2014/main" id="{42D5EE71-6C52-41B4-8DF2-C2CA5E1DCB8C}"/>
              </a:ext>
            </a:extLst>
          </p:cNvPr>
          <p:cNvSpPr/>
          <p:nvPr userDrawn="1"/>
        </p:nvSpPr>
        <p:spPr>
          <a:xfrm>
            <a:off x="9270320" y="7193535"/>
            <a:ext cx="288000" cy="15388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algn="l"/>
            <a:fld id="{D1F8AC67-8649-4DF3-896E-D4ABC81FCA57}" type="slidenum">
              <a:rPr kumimoji="0" lang="de-AT" sz="1000" b="0" i="1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Aharoni" pitchFamily="2" charset="-79"/>
              </a:rPr>
              <a:pPr marL="0" algn="l"/>
              <a:t>‹Nr.›</a:t>
            </a:fld>
            <a:endParaRPr lang="en-US" sz="1000" i="1" spc="0" baseline="0" dirty="0">
              <a:solidFill>
                <a:schemeClr val="bg1"/>
              </a:solidFill>
            </a:endParaRPr>
          </a:p>
        </p:txBody>
      </p:sp>
      <p:sp>
        <p:nvSpPr>
          <p:cNvPr id="6" name="Rectangle 167">
            <a:extLst>
              <a:ext uri="{FF2B5EF4-FFF2-40B4-BE49-F238E27FC236}">
                <a16:creationId xmlns:a16="http://schemas.microsoft.com/office/drawing/2014/main" id="{846B7288-0C5B-4F82-AD76-CA36F1311407}"/>
              </a:ext>
            </a:extLst>
          </p:cNvPr>
          <p:cNvSpPr/>
          <p:nvPr userDrawn="1"/>
        </p:nvSpPr>
        <p:spPr>
          <a:xfrm>
            <a:off x="9128818" y="7193535"/>
            <a:ext cx="107402" cy="15388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 marL="0" algn="r"/>
            <a:r>
              <a:rPr lang="en-US" sz="1000" i="1" spc="0" baseline="0" dirty="0">
                <a:solidFill>
                  <a:schemeClr val="bg1"/>
                </a:solidFill>
              </a:rPr>
              <a:t>S.</a:t>
            </a:r>
          </a:p>
        </p:txBody>
      </p:sp>
      <p:sp>
        <p:nvSpPr>
          <p:cNvPr id="11" name="Freeform 141">
            <a:extLst>
              <a:ext uri="{FF2B5EF4-FFF2-40B4-BE49-F238E27FC236}">
                <a16:creationId xmlns:a16="http://schemas.microsoft.com/office/drawing/2014/main" id="{66CE107B-9AB9-48D2-8EE7-10D43D19C3AC}"/>
              </a:ext>
            </a:extLst>
          </p:cNvPr>
          <p:cNvSpPr/>
          <p:nvPr userDrawn="1"/>
        </p:nvSpPr>
        <p:spPr>
          <a:xfrm>
            <a:off x="1602283" y="5296441"/>
            <a:ext cx="1188000" cy="108000"/>
          </a:xfrm>
          <a:custGeom>
            <a:avLst/>
            <a:gdLst/>
            <a:ahLst/>
            <a:cxnLst/>
            <a:rect l="0" t="0" r="0" b="0"/>
            <a:pathLst>
              <a:path w="1079995" h="108001">
                <a:moveTo>
                  <a:pt x="0" y="108001"/>
                </a:moveTo>
                <a:lnTo>
                  <a:pt x="1079995" y="108001"/>
                </a:lnTo>
                <a:lnTo>
                  <a:pt x="1079995" y="0"/>
                </a:lnTo>
                <a:lnTo>
                  <a:pt x="0" y="0"/>
                </a:lnTo>
                <a:lnTo>
                  <a:pt x="0" y="108001"/>
                </a:lnTo>
                <a:close/>
              </a:path>
            </a:pathLst>
          </a:custGeom>
          <a:solidFill>
            <a:srgbClr val="B2BDC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endParaRPr lang="de-AT" u="sng">
              <a:solidFill>
                <a:schemeClr val="tx2"/>
              </a:solidFill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6B5AE73E-6AA1-40C0-BD37-4A69D1ADFC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875" y="214282"/>
            <a:ext cx="6750026" cy="83099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AT" sz="6000" b="1" kern="1200" cap="all" baseline="0" dirty="0">
                <a:solidFill>
                  <a:srgbClr val="B2BD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 err="1"/>
              <a:t>zb</a:t>
            </a:r>
            <a:r>
              <a:rPr lang="de-DE" dirty="0"/>
              <a:t>: </a:t>
            </a:r>
            <a:r>
              <a:rPr lang="de-DE" dirty="0" err="1"/>
              <a:t>KapitelNR</a:t>
            </a:r>
            <a:r>
              <a:rPr lang="de-DE" dirty="0"/>
              <a:t>.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DA061377-87EF-46B0-861C-FE43C7376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602284" y="5662367"/>
            <a:ext cx="4464496" cy="9856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800" b="0" i="1">
                <a:solidFill>
                  <a:schemeClr val="bg1"/>
                </a:solidFill>
                <a:latin typeface="+mn-lt"/>
              </a:defRPr>
            </a:lvl1pPr>
            <a:lvl2pPr marL="503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Lorem ipsum dolor sit amet, consectetuer adipiscing elit. Maecenas porttitor congue massa. Fusce posuere, magna sed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26" name="Bogen 25">
            <a:extLst>
              <a:ext uri="{FF2B5EF4-FFF2-40B4-BE49-F238E27FC236}">
                <a16:creationId xmlns:a16="http://schemas.microsoft.com/office/drawing/2014/main" id="{B12009B6-288F-4DB1-AAC5-764C2659B55B}"/>
              </a:ext>
            </a:extLst>
          </p:cNvPr>
          <p:cNvSpPr/>
          <p:nvPr userDrawn="1"/>
        </p:nvSpPr>
        <p:spPr>
          <a:xfrm>
            <a:off x="-2646188" y="-1331937"/>
            <a:ext cx="11715790" cy="11715790"/>
          </a:xfrm>
          <a:prstGeom prst="arc">
            <a:avLst>
              <a:gd name="adj1" fmla="val 18568339"/>
              <a:gd name="adj2" fmla="val 1898565"/>
            </a:avLst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451460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DE86D60-D0FF-4B65-9BFB-693BEA24E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19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DE86D60-D0FF-4B65-9BFB-693BEA24E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1A8C4229-555A-4396-BEFF-B91B6383155C}"/>
              </a:ext>
            </a:extLst>
          </p:cNvPr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8" b="12"/>
          <a:stretch/>
        </p:blipFill>
        <p:spPr>
          <a:xfrm>
            <a:off x="6733400" y="720725"/>
            <a:ext cx="3960000" cy="6840538"/>
          </a:xfrm>
          <a:prstGeom prst="rect">
            <a:avLst/>
          </a:prstGeom>
        </p:spPr>
      </p:pic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68323D3D-7E2C-4FF3-85B1-BE5E969AAC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en-US" sz="2800" b="1" i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424417BF-5F74-45E7-9B26-AE9E5E8F1DBC}"/>
              </a:ext>
            </a:extLst>
          </p:cNvPr>
          <p:cNvSpPr/>
          <p:nvPr userDrawn="1"/>
        </p:nvSpPr>
        <p:spPr>
          <a:xfrm rot="10800000">
            <a:off x="9496313" y="168382"/>
            <a:ext cx="1082907" cy="2160240"/>
          </a:xfrm>
          <a:custGeom>
            <a:avLst/>
            <a:gdLst>
              <a:gd name="connsiteX0" fmla="*/ 2972 w 1154972"/>
              <a:gd name="connsiteY0" fmla="*/ 0 h 2304000"/>
              <a:gd name="connsiteX1" fmla="*/ 1154972 w 1154972"/>
              <a:gd name="connsiteY1" fmla="*/ 1152000 h 2304000"/>
              <a:gd name="connsiteX2" fmla="*/ 2972 w 1154972"/>
              <a:gd name="connsiteY2" fmla="*/ 2304000 h 2304000"/>
              <a:gd name="connsiteX3" fmla="*/ 0 w 1154972"/>
              <a:gd name="connsiteY3" fmla="*/ 2303850 h 2304000"/>
              <a:gd name="connsiteX4" fmla="*/ 0 w 1154972"/>
              <a:gd name="connsiteY4" fmla="*/ 150 h 23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4972" h="2304000">
                <a:moveTo>
                  <a:pt x="2972" y="0"/>
                </a:moveTo>
                <a:cubicBezTo>
                  <a:pt x="639204" y="0"/>
                  <a:pt x="1154972" y="515768"/>
                  <a:pt x="1154972" y="1152000"/>
                </a:cubicBezTo>
                <a:cubicBezTo>
                  <a:pt x="1154972" y="1788232"/>
                  <a:pt x="639204" y="2304000"/>
                  <a:pt x="2972" y="2304000"/>
                </a:cubicBezTo>
                <a:lnTo>
                  <a:pt x="0" y="2303850"/>
                </a:lnTo>
                <a:lnTo>
                  <a:pt x="0" y="150"/>
                </a:lnTo>
                <a:close/>
              </a:path>
            </a:pathLst>
          </a:custGeom>
          <a:solidFill>
            <a:srgbClr val="657C9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endParaRPr lang="de-AT"/>
          </a:p>
        </p:txBody>
      </p:sp>
      <p:sp>
        <p:nvSpPr>
          <p:cNvPr id="6" name="Freeform 147">
            <a:extLst>
              <a:ext uri="{FF2B5EF4-FFF2-40B4-BE49-F238E27FC236}">
                <a16:creationId xmlns:a16="http://schemas.microsoft.com/office/drawing/2014/main" id="{378D035D-85B5-41E6-A538-9484668AC212}"/>
              </a:ext>
            </a:extLst>
          </p:cNvPr>
          <p:cNvSpPr/>
          <p:nvPr userDrawn="1"/>
        </p:nvSpPr>
        <p:spPr>
          <a:xfrm>
            <a:off x="6018014" y="6156894"/>
            <a:ext cx="1260000" cy="1260000"/>
          </a:xfrm>
          <a:custGeom>
            <a:avLst/>
            <a:gdLst/>
            <a:ahLst/>
            <a:cxnLst/>
            <a:rect l="0" t="0" r="0" b="0"/>
            <a:pathLst>
              <a:path w="1923896" h="1880920">
                <a:moveTo>
                  <a:pt x="961948" y="1880920"/>
                </a:moveTo>
                <a:cubicBezTo>
                  <a:pt x="1493214" y="1880920"/>
                  <a:pt x="1923896" y="1459865"/>
                  <a:pt x="1923896" y="940460"/>
                </a:cubicBezTo>
                <a:cubicBezTo>
                  <a:pt x="1923896" y="421068"/>
                  <a:pt x="1493214" y="0"/>
                  <a:pt x="961948" y="0"/>
                </a:cubicBezTo>
                <a:cubicBezTo>
                  <a:pt x="430682" y="0"/>
                  <a:pt x="0" y="421068"/>
                  <a:pt x="0" y="940460"/>
                </a:cubicBezTo>
                <a:cubicBezTo>
                  <a:pt x="0" y="1459865"/>
                  <a:pt x="430682" y="1880920"/>
                  <a:pt x="961948" y="1880920"/>
                </a:cubicBezTo>
                <a:close/>
              </a:path>
            </a:pathLst>
          </a:custGeom>
          <a:noFill/>
          <a:ln w="19050" cap="flat" cmpd="sng">
            <a:solidFill>
              <a:srgbClr val="404040"/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AT"/>
          </a:p>
        </p:txBody>
      </p:sp>
      <p:sp>
        <p:nvSpPr>
          <p:cNvPr id="7" name="Freeform 160">
            <a:extLst>
              <a:ext uri="{FF2B5EF4-FFF2-40B4-BE49-F238E27FC236}">
                <a16:creationId xmlns:a16="http://schemas.microsoft.com/office/drawing/2014/main" id="{9A5AC024-679B-4E61-9260-3EFCE35BD528}"/>
              </a:ext>
            </a:extLst>
          </p:cNvPr>
          <p:cNvSpPr/>
          <p:nvPr userDrawn="1"/>
        </p:nvSpPr>
        <p:spPr>
          <a:xfrm flipV="1">
            <a:off x="396875" y="6786894"/>
            <a:ext cx="6084000" cy="0"/>
          </a:xfrm>
          <a:custGeom>
            <a:avLst/>
            <a:gdLst/>
            <a:ahLst/>
            <a:cxnLst/>
            <a:rect l="0" t="0" r="0" b="0"/>
            <a:pathLst>
              <a:path w="3745064">
                <a:moveTo>
                  <a:pt x="0" y="0"/>
                </a:moveTo>
                <a:lnTo>
                  <a:pt x="3745064" y="0"/>
                </a:lnTo>
              </a:path>
            </a:pathLst>
          </a:custGeom>
          <a:noFill/>
          <a:ln w="19050" cap="flat" cmpd="sng">
            <a:solidFill>
              <a:srgbClr val="404040"/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AT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7A22D4BA-B4E3-42C8-9737-F811F1AEEBB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10368" y="6371013"/>
            <a:ext cx="4713736" cy="2769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800" b="0" i="1">
                <a:solidFill>
                  <a:srgbClr val="404040"/>
                </a:solidFill>
                <a:latin typeface="+mn-lt"/>
              </a:defRPr>
            </a:lvl1pPr>
            <a:lvl2pPr marL="503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Hier Zusatzinformation anführen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EBFD758-DFC6-4D68-A1A6-DA16E71EE1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401697" y="1764084"/>
            <a:ext cx="4765616" cy="1728515"/>
          </a:xfrm>
          <a:prstGeom prst="rect">
            <a:avLst/>
          </a:prstGeom>
        </p:spPr>
        <p:txBody>
          <a:bodyPr vert="horz" wrap="square" lIns="0" tIns="0" rIns="0" bIns="0" anchor="t">
            <a:noAutofit/>
          </a:bodyPr>
          <a:lstStyle>
            <a:lvl1pPr algn="l">
              <a:lnSpc>
                <a:spcPct val="100000"/>
              </a:lnSpc>
              <a:defRPr sz="2800">
                <a:solidFill>
                  <a:srgbClr val="404040"/>
                </a:solidFill>
                <a:latin typeface="+mn-lt"/>
              </a:defRPr>
            </a:lvl1pPr>
          </a:lstStyle>
          <a:p>
            <a:r>
              <a:rPr lang="en-US" dirty="0" err="1"/>
              <a:t>Klassischer</a:t>
            </a:r>
            <a:r>
              <a:rPr lang="en-US" dirty="0"/>
              <a:t> </a:t>
            </a:r>
            <a:r>
              <a:rPr lang="en-US" dirty="0" err="1"/>
              <a:t>Kapiteltrenner</a:t>
            </a:r>
            <a:r>
              <a:rPr lang="en-US" dirty="0"/>
              <a:t> </a:t>
            </a:r>
            <a:r>
              <a:rPr lang="en-US" dirty="0" err="1"/>
              <a:t>mit</a:t>
            </a:r>
            <a:r>
              <a:rPr lang="en-US" dirty="0"/>
              <a:t> </a:t>
            </a:r>
            <a:r>
              <a:rPr lang="en-US" dirty="0" err="1"/>
              <a:t>Subheadline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556AC63-A5D9-42EE-A5F7-79DE39E980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76522" y="7109202"/>
            <a:ext cx="721437" cy="275124"/>
          </a:xfrm>
          <a:prstGeom prst="rect">
            <a:avLst/>
          </a:prstGeom>
        </p:spPr>
      </p:pic>
      <p:sp>
        <p:nvSpPr>
          <p:cNvPr id="12" name="Rectangle 167">
            <a:extLst>
              <a:ext uri="{FF2B5EF4-FFF2-40B4-BE49-F238E27FC236}">
                <a16:creationId xmlns:a16="http://schemas.microsoft.com/office/drawing/2014/main" id="{FAD0840F-1C8D-4AA2-91FA-B4C0B9224C30}"/>
              </a:ext>
            </a:extLst>
          </p:cNvPr>
          <p:cNvSpPr/>
          <p:nvPr userDrawn="1"/>
        </p:nvSpPr>
        <p:spPr>
          <a:xfrm>
            <a:off x="9270320" y="7193535"/>
            <a:ext cx="288000" cy="15388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algn="l"/>
            <a:fld id="{D1F8AC67-8649-4DF3-896E-D4ABC81FCA57}" type="slidenum">
              <a:rPr kumimoji="0" lang="de-AT" sz="1000" b="0" i="1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Aharoni" pitchFamily="2" charset="-79"/>
              </a:rPr>
              <a:pPr marL="0" algn="l"/>
              <a:t>‹Nr.›</a:t>
            </a:fld>
            <a:endParaRPr lang="en-US" sz="1000" i="1" spc="0" baseline="0" dirty="0">
              <a:solidFill>
                <a:schemeClr val="bg1"/>
              </a:solidFill>
            </a:endParaRPr>
          </a:p>
        </p:txBody>
      </p:sp>
      <p:sp>
        <p:nvSpPr>
          <p:cNvPr id="17" name="Rectangle 167">
            <a:extLst>
              <a:ext uri="{FF2B5EF4-FFF2-40B4-BE49-F238E27FC236}">
                <a16:creationId xmlns:a16="http://schemas.microsoft.com/office/drawing/2014/main" id="{1B64BDEE-62FA-4BF8-B9E3-0229303ECA6F}"/>
              </a:ext>
            </a:extLst>
          </p:cNvPr>
          <p:cNvSpPr/>
          <p:nvPr userDrawn="1"/>
        </p:nvSpPr>
        <p:spPr>
          <a:xfrm>
            <a:off x="9128818" y="7193535"/>
            <a:ext cx="107402" cy="15388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 marL="0" algn="r"/>
            <a:r>
              <a:rPr lang="en-US" sz="1000" i="1" spc="0" baseline="0" dirty="0">
                <a:solidFill>
                  <a:schemeClr val="bg1"/>
                </a:solidFill>
              </a:rPr>
              <a:t>S.</a:t>
            </a:r>
          </a:p>
        </p:txBody>
      </p:sp>
    </p:spTree>
    <p:extLst>
      <p:ext uri="{BB962C8B-B14F-4D97-AF65-F5344CB8AC3E}">
        <p14:creationId xmlns:p14="http://schemas.microsoft.com/office/powerpoint/2010/main" val="3962997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>
          <p15:clr>
            <a:srgbClr val="FBAE40"/>
          </p15:clr>
        </p15:guide>
        <p15:guide id="2" orient="horz" pos="45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DE86D60-D0FF-4B65-9BFB-693BEA24E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8180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DE86D60-D0FF-4B65-9BFB-693BEA24E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Grafik 21">
            <a:extLst>
              <a:ext uri="{FF2B5EF4-FFF2-40B4-BE49-F238E27FC236}">
                <a16:creationId xmlns:a16="http://schemas.microsoft.com/office/drawing/2014/main" id="{E9952F01-8F82-4B4A-A3C1-67BF9528BC6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1"/>
            <a:ext cx="4498848" cy="7559040"/>
          </a:xfrm>
          <a:prstGeom prst="rect">
            <a:avLst/>
          </a:prstGeom>
        </p:spPr>
      </p:pic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68323D3D-7E2C-4FF3-85B1-BE5E969AAC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en-GB" sz="4000" b="1" i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C8F84085-BA2D-454E-941F-86E0DB12742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6522" y="7108214"/>
            <a:ext cx="721437" cy="277101"/>
          </a:xfrm>
          <a:prstGeom prst="rect">
            <a:avLst/>
          </a:prstGeom>
        </p:spPr>
      </p:pic>
      <p:sp>
        <p:nvSpPr>
          <p:cNvPr id="48" name="Rectangle 167">
            <a:extLst>
              <a:ext uri="{FF2B5EF4-FFF2-40B4-BE49-F238E27FC236}">
                <a16:creationId xmlns:a16="http://schemas.microsoft.com/office/drawing/2014/main" id="{9A9D93BB-EE2E-4DD8-A5F8-016A7A97455A}"/>
              </a:ext>
            </a:extLst>
          </p:cNvPr>
          <p:cNvSpPr/>
          <p:nvPr userDrawn="1"/>
        </p:nvSpPr>
        <p:spPr>
          <a:xfrm>
            <a:off x="9270320" y="7193535"/>
            <a:ext cx="288000" cy="15388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algn="l"/>
            <a:fld id="{D1F8AC67-8649-4DF3-896E-D4ABC81FCA57}" type="slidenum">
              <a:rPr kumimoji="0" lang="de-AT" sz="1000" b="0" i="1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Aharoni" pitchFamily="2" charset="-79"/>
              </a:rPr>
              <a:pPr marL="0" algn="l"/>
              <a:t>‹Nr.›</a:t>
            </a:fld>
            <a:endParaRPr lang="en-US" sz="1000" i="1" spc="0" baseline="0" dirty="0">
              <a:solidFill>
                <a:srgbClr val="404040"/>
              </a:solidFill>
            </a:endParaRPr>
          </a:p>
        </p:txBody>
      </p:sp>
      <p:sp>
        <p:nvSpPr>
          <p:cNvPr id="49" name="Rectangle 167">
            <a:extLst>
              <a:ext uri="{FF2B5EF4-FFF2-40B4-BE49-F238E27FC236}">
                <a16:creationId xmlns:a16="http://schemas.microsoft.com/office/drawing/2014/main" id="{A839F0CA-E943-475C-AADD-5398936C0CE4}"/>
              </a:ext>
            </a:extLst>
          </p:cNvPr>
          <p:cNvSpPr/>
          <p:nvPr userDrawn="1"/>
        </p:nvSpPr>
        <p:spPr>
          <a:xfrm>
            <a:off x="7355063" y="7193535"/>
            <a:ext cx="1668727" cy="15388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 marL="0" algn="r"/>
            <a:r>
              <a:rPr lang="en-US" sz="1000" i="1" cap="all" spc="0" baseline="0" dirty="0"/>
              <a:t>We search for greatness.</a:t>
            </a:r>
          </a:p>
        </p:txBody>
      </p:sp>
      <p:sp>
        <p:nvSpPr>
          <p:cNvPr id="50" name="Rectangle 167">
            <a:extLst>
              <a:ext uri="{FF2B5EF4-FFF2-40B4-BE49-F238E27FC236}">
                <a16:creationId xmlns:a16="http://schemas.microsoft.com/office/drawing/2014/main" id="{B8C06915-6F21-4F42-9E30-50B2E359F6DC}"/>
              </a:ext>
            </a:extLst>
          </p:cNvPr>
          <p:cNvSpPr/>
          <p:nvPr userDrawn="1"/>
        </p:nvSpPr>
        <p:spPr>
          <a:xfrm>
            <a:off x="9128818" y="7193535"/>
            <a:ext cx="107402" cy="15388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 marL="0" algn="r"/>
            <a:r>
              <a:rPr lang="en-US" sz="1000" i="1" spc="0" baseline="0" dirty="0"/>
              <a:t>S.</a:t>
            </a:r>
            <a:endParaRPr lang="en-US" sz="1000" i="1" spc="0" baseline="0" dirty="0">
              <a:solidFill>
                <a:srgbClr val="404040"/>
              </a:solidFill>
            </a:endParaRP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FCAD92BB-D7CD-410A-8475-ED57A34E47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67313" y="1404938"/>
            <a:ext cx="5132387" cy="5256212"/>
          </a:xfrm>
        </p:spPr>
        <p:txBody>
          <a:bodyPr>
            <a:noAutofit/>
          </a:bodyPr>
          <a:lstStyle>
            <a:lvl1pPr marL="360000" indent="-324000">
              <a:spcAft>
                <a:spcPts val="1200"/>
              </a:spcAft>
              <a:defRPr sz="2400"/>
            </a:lvl1pPr>
            <a:lvl2pPr marL="576000">
              <a:spcAft>
                <a:spcPts val="1200"/>
              </a:spcAft>
              <a:defRPr sz="2000"/>
            </a:lvl2pPr>
            <a:lvl3pPr marL="828000">
              <a:spcAft>
                <a:spcPts val="1200"/>
              </a:spcAft>
              <a:defRPr sz="1800"/>
            </a:lvl3pPr>
            <a:lvl4pPr marL="1080000">
              <a:spcAft>
                <a:spcPts val="1200"/>
              </a:spcAft>
              <a:defRPr sz="1600"/>
            </a:lvl4pPr>
            <a:lvl5pPr marL="1332000">
              <a:spcAft>
                <a:spcPts val="1200"/>
              </a:spcAft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75319DD6-648E-4298-86E2-6EFAC8C49E76}"/>
              </a:ext>
            </a:extLst>
          </p:cNvPr>
          <p:cNvSpPr/>
          <p:nvPr userDrawn="1"/>
        </p:nvSpPr>
        <p:spPr>
          <a:xfrm>
            <a:off x="0" y="2377474"/>
            <a:ext cx="4498846" cy="1771575"/>
          </a:xfrm>
          <a:prstGeom prst="rect">
            <a:avLst/>
          </a:prstGeom>
          <a:solidFill>
            <a:srgbClr val="657C9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3656BF09-79D2-4C03-9F41-BCA6A6319C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93701" y="2377474"/>
            <a:ext cx="4016896" cy="1537391"/>
          </a:xfrm>
          <a:prstGeom prst="rect">
            <a:avLst/>
          </a:prstGeom>
          <a:noFill/>
        </p:spPr>
        <p:txBody>
          <a:bodyPr vert="horz" wrap="square" lIns="0" tIns="0" rIns="0" bIns="0" anchor="b">
            <a:noAutofit/>
          </a:bodyPr>
          <a:lstStyle>
            <a:lvl1pPr algn="l">
              <a:lnSpc>
                <a:spcPct val="100000"/>
              </a:lnSpc>
              <a:defRPr sz="4000" b="1" i="0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Platz </a:t>
            </a:r>
            <a:r>
              <a:rPr lang="en-GB" dirty="0" err="1"/>
              <a:t>für</a:t>
            </a:r>
            <a:r>
              <a:rPr lang="en-GB" dirty="0"/>
              <a:t> </a:t>
            </a:r>
            <a:r>
              <a:rPr lang="en-GB" dirty="0" err="1"/>
              <a:t>eine</a:t>
            </a:r>
            <a:r>
              <a:rPr lang="en-GB" dirty="0"/>
              <a:t> Big Messag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8E67FD9-14D7-42D6-8E9A-CE484C108BC7}"/>
              </a:ext>
            </a:extLst>
          </p:cNvPr>
          <p:cNvGrpSpPr/>
          <p:nvPr userDrawn="1"/>
        </p:nvGrpSpPr>
        <p:grpSpPr>
          <a:xfrm>
            <a:off x="-2" y="0"/>
            <a:ext cx="4498848" cy="7561263"/>
            <a:chOff x="-2" y="0"/>
            <a:chExt cx="4498848" cy="7561263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B3A85F65-D1E0-4C73-A477-6B088EC46873}"/>
                </a:ext>
              </a:extLst>
            </p:cNvPr>
            <p:cNvGrpSpPr/>
            <p:nvPr userDrawn="1"/>
          </p:nvGrpSpPr>
          <p:grpSpPr>
            <a:xfrm>
              <a:off x="-2" y="0"/>
              <a:ext cx="4498848" cy="7561263"/>
              <a:chOff x="-2" y="0"/>
              <a:chExt cx="4498848" cy="7561263"/>
            </a:xfrm>
            <a:solidFill>
              <a:srgbClr val="657C91"/>
            </a:solidFill>
          </p:grpSpPr>
          <p:grpSp>
            <p:nvGrpSpPr>
              <p:cNvPr id="33" name="Gruppieren 32">
                <a:extLst>
                  <a:ext uri="{FF2B5EF4-FFF2-40B4-BE49-F238E27FC236}">
                    <a16:creationId xmlns:a16="http://schemas.microsoft.com/office/drawing/2014/main" id="{372AA9DA-F317-4988-96BD-6BB0CCB756A6}"/>
                  </a:ext>
                </a:extLst>
              </p:cNvPr>
              <p:cNvGrpSpPr/>
              <p:nvPr userDrawn="1"/>
            </p:nvGrpSpPr>
            <p:grpSpPr>
              <a:xfrm>
                <a:off x="-2" y="0"/>
                <a:ext cx="4498848" cy="7561263"/>
                <a:chOff x="-2" y="0"/>
                <a:chExt cx="4498848" cy="7561263"/>
              </a:xfrm>
              <a:grpFill/>
            </p:grpSpPr>
            <p:sp>
              <p:nvSpPr>
                <p:cNvPr id="35" name="Freihandform: Form 34">
                  <a:extLst>
                    <a:ext uri="{FF2B5EF4-FFF2-40B4-BE49-F238E27FC236}">
                      <a16:creationId xmlns:a16="http://schemas.microsoft.com/office/drawing/2014/main" id="{9A6E7665-C4F3-4ADA-982F-69D92347BE19}"/>
                    </a:ext>
                  </a:extLst>
                </p:cNvPr>
                <p:cNvSpPr/>
                <p:nvPr userDrawn="1"/>
              </p:nvSpPr>
              <p:spPr>
                <a:xfrm rot="10800000">
                  <a:off x="-1" y="0"/>
                  <a:ext cx="4498847" cy="7561263"/>
                </a:xfrm>
                <a:custGeom>
                  <a:avLst/>
                  <a:gdLst>
                    <a:gd name="connsiteX0" fmla="*/ 0 w 4500000"/>
                    <a:gd name="connsiteY0" fmla="*/ 1414499 h 7569881"/>
                    <a:gd name="connsiteX1" fmla="*/ 0 w 4500000"/>
                    <a:gd name="connsiteY1" fmla="*/ 0 h 7569881"/>
                    <a:gd name="connsiteX2" fmla="*/ 1060238 w 4500000"/>
                    <a:gd name="connsiteY2" fmla="*/ 0 h 7569881"/>
                    <a:gd name="connsiteX3" fmla="*/ 952407 w 4500000"/>
                    <a:gd name="connsiteY3" fmla="*/ 93970 h 7569881"/>
                    <a:gd name="connsiteX4" fmla="*/ 89098 w 4500000"/>
                    <a:gd name="connsiteY4" fmla="*/ 1228766 h 7569881"/>
                    <a:gd name="connsiteX5" fmla="*/ 4500000 w 4500000"/>
                    <a:gd name="connsiteY5" fmla="*/ 7569881 h 7569881"/>
                    <a:gd name="connsiteX6" fmla="*/ 0 w 4500000"/>
                    <a:gd name="connsiteY6" fmla="*/ 7569881 h 7569881"/>
                    <a:gd name="connsiteX7" fmla="*/ 0 w 4500000"/>
                    <a:gd name="connsiteY7" fmla="*/ 4701419 h 7569881"/>
                    <a:gd name="connsiteX8" fmla="*/ 70095 w 4500000"/>
                    <a:gd name="connsiteY8" fmla="*/ 4856465 h 7569881"/>
                    <a:gd name="connsiteX9" fmla="*/ 3760749 w 4500000"/>
                    <a:gd name="connsiteY9" fmla="*/ 7175777 h 7569881"/>
                    <a:gd name="connsiteX10" fmla="*/ 4384287 w 4500000"/>
                    <a:gd name="connsiteY10" fmla="*/ 7128600 h 7569881"/>
                    <a:gd name="connsiteX11" fmla="*/ 4500000 w 4500000"/>
                    <a:gd name="connsiteY11" fmla="*/ 7107936 h 7569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500000" h="7569881">
                      <a:moveTo>
                        <a:pt x="0" y="1414499"/>
                      </a:moveTo>
                      <a:lnTo>
                        <a:pt x="0" y="0"/>
                      </a:lnTo>
                      <a:lnTo>
                        <a:pt x="1060238" y="0"/>
                      </a:lnTo>
                      <a:lnTo>
                        <a:pt x="952407" y="93970"/>
                      </a:lnTo>
                      <a:cubicBezTo>
                        <a:pt x="601679" y="416583"/>
                        <a:pt x="308242" y="800515"/>
                        <a:pt x="89098" y="1228766"/>
                      </a:cubicBezTo>
                      <a:close/>
                      <a:moveTo>
                        <a:pt x="4500000" y="7569881"/>
                      </a:moveTo>
                      <a:lnTo>
                        <a:pt x="0" y="7569881"/>
                      </a:lnTo>
                      <a:lnTo>
                        <a:pt x="0" y="4701419"/>
                      </a:lnTo>
                      <a:lnTo>
                        <a:pt x="70095" y="4856465"/>
                      </a:lnTo>
                      <a:cubicBezTo>
                        <a:pt x="731344" y="6228780"/>
                        <a:pt x="2135455" y="7175777"/>
                        <a:pt x="3760749" y="7175777"/>
                      </a:cubicBezTo>
                      <a:cubicBezTo>
                        <a:pt x="3972744" y="7175777"/>
                        <a:pt x="4180976" y="7159665"/>
                        <a:pt x="4384287" y="7128600"/>
                      </a:cubicBezTo>
                      <a:lnTo>
                        <a:pt x="4500000" y="7107936"/>
                      </a:ln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  <a:buClr>
                      <a:srgbClr val="ED1A3B"/>
                    </a:buClr>
                    <a:buSzPct val="80000"/>
                  </a:pPr>
                  <a:endParaRPr lang="de-AT" sz="1400" dirty="0" err="1">
                    <a:solidFill>
                      <a:schemeClr val="tx1"/>
                    </a:solidFill>
                    <a:latin typeface="Trebuchet MS" panose="020B0603020202020204" pitchFamily="34" charset="0"/>
                  </a:endParaRPr>
                </a:p>
              </p:txBody>
            </p:sp>
            <p:sp>
              <p:nvSpPr>
                <p:cNvPr id="37" name="Rechteck 36">
                  <a:extLst>
                    <a:ext uri="{FF2B5EF4-FFF2-40B4-BE49-F238E27FC236}">
                      <a16:creationId xmlns:a16="http://schemas.microsoft.com/office/drawing/2014/main" id="{1239235C-2D4A-4AE8-9D56-D111EDFB5532}"/>
                    </a:ext>
                  </a:extLst>
                </p:cNvPr>
                <p:cNvSpPr/>
                <p:nvPr userDrawn="1"/>
              </p:nvSpPr>
              <p:spPr>
                <a:xfrm rot="5400000">
                  <a:off x="2069422" y="1845442"/>
                  <a:ext cx="360000" cy="4498848"/>
                </a:xfrm>
                <a:prstGeom prst="rect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  <a:buClr>
                      <a:srgbClr val="ED1A3B"/>
                    </a:buClr>
                    <a:buSzPct val="80000"/>
                  </a:pPr>
                  <a:endParaRPr lang="de-AT" sz="1400" dirty="0" err="1">
                    <a:solidFill>
                      <a:schemeClr val="tx1"/>
                    </a:solidFill>
                    <a:latin typeface="Trebuchet MS" panose="020B0603020202020204" pitchFamily="34" charset="0"/>
                  </a:endParaRPr>
                </a:p>
              </p:txBody>
            </p:sp>
          </p:grpSp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7E1D9237-EEF8-4DD7-BC69-9F304053F728}"/>
                  </a:ext>
                </a:extLst>
              </p:cNvPr>
              <p:cNvSpPr/>
              <p:nvPr userDrawn="1"/>
            </p:nvSpPr>
            <p:spPr>
              <a:xfrm>
                <a:off x="0" y="0"/>
                <a:ext cx="360000" cy="4149049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  <a:buClr>
                    <a:srgbClr val="ED1A3B"/>
                  </a:buClr>
                  <a:buSzPct val="80000"/>
                </a:pPr>
                <a:endParaRPr lang="de-AT" sz="1400" dirty="0" err="1">
                  <a:solidFill>
                    <a:schemeClr val="tx1"/>
                  </a:solidFill>
                  <a:latin typeface="Trebuchet MS" panose="020B0603020202020204" pitchFamily="34" charset="0"/>
                </a:endParaRPr>
              </a:p>
            </p:txBody>
          </p:sp>
        </p:grp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4F6E4E21-A9BC-4528-AE31-2E9D4E1D7FA7}"/>
                </a:ext>
              </a:extLst>
            </p:cNvPr>
            <p:cNvSpPr/>
            <p:nvPr userDrawn="1"/>
          </p:nvSpPr>
          <p:spPr>
            <a:xfrm>
              <a:off x="2902013" y="4194481"/>
              <a:ext cx="360000" cy="3366782"/>
            </a:xfrm>
            <a:prstGeom prst="rect">
              <a:avLst/>
            </a:prstGeom>
            <a:solidFill>
              <a:srgbClr val="657C9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36D85985-DF2C-4138-A655-ACE75B815D22}"/>
                </a:ext>
              </a:extLst>
            </p:cNvPr>
            <p:cNvSpPr/>
            <p:nvPr userDrawn="1"/>
          </p:nvSpPr>
          <p:spPr>
            <a:xfrm rot="16200000">
              <a:off x="3510063" y="6400163"/>
              <a:ext cx="360000" cy="1295239"/>
            </a:xfrm>
            <a:prstGeom prst="rect">
              <a:avLst/>
            </a:prstGeom>
            <a:solidFill>
              <a:srgbClr val="657C9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27" name="Freeform 160">
            <a:extLst>
              <a:ext uri="{FF2B5EF4-FFF2-40B4-BE49-F238E27FC236}">
                <a16:creationId xmlns:a16="http://schemas.microsoft.com/office/drawing/2014/main" id="{45B82B40-1BC4-4281-9367-EFDA57AD7A07}"/>
              </a:ext>
            </a:extLst>
          </p:cNvPr>
          <p:cNvSpPr/>
          <p:nvPr userDrawn="1"/>
        </p:nvSpPr>
        <p:spPr>
          <a:xfrm rot="5400000" flipV="1">
            <a:off x="-503868" y="6193262"/>
            <a:ext cx="2736000" cy="0"/>
          </a:xfrm>
          <a:custGeom>
            <a:avLst/>
            <a:gdLst/>
            <a:ahLst/>
            <a:cxnLst/>
            <a:rect l="0" t="0" r="0" b="0"/>
            <a:pathLst>
              <a:path w="3745064">
                <a:moveTo>
                  <a:pt x="0" y="0"/>
                </a:moveTo>
                <a:lnTo>
                  <a:pt x="3745064" y="0"/>
                </a:lnTo>
              </a:path>
            </a:pathLst>
          </a:custGeom>
          <a:noFill/>
          <a:ln w="19050" cap="flat" cmpd="sng">
            <a:solidFill>
              <a:srgbClr val="404040"/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AT"/>
          </a:p>
        </p:txBody>
      </p:sp>
      <p:sp>
        <p:nvSpPr>
          <p:cNvPr id="28" name="Freeform 147">
            <a:extLst>
              <a:ext uri="{FF2B5EF4-FFF2-40B4-BE49-F238E27FC236}">
                <a16:creationId xmlns:a16="http://schemas.microsoft.com/office/drawing/2014/main" id="{B37C4893-865B-4AC0-82F7-75A8B51D030F}"/>
              </a:ext>
            </a:extLst>
          </p:cNvPr>
          <p:cNvSpPr/>
          <p:nvPr userDrawn="1"/>
        </p:nvSpPr>
        <p:spPr>
          <a:xfrm rot="16200000">
            <a:off x="234133" y="4056662"/>
            <a:ext cx="1260000" cy="1260000"/>
          </a:xfrm>
          <a:custGeom>
            <a:avLst/>
            <a:gdLst/>
            <a:ahLst/>
            <a:cxnLst/>
            <a:rect l="0" t="0" r="0" b="0"/>
            <a:pathLst>
              <a:path w="1923896" h="1880920">
                <a:moveTo>
                  <a:pt x="961948" y="1880920"/>
                </a:moveTo>
                <a:cubicBezTo>
                  <a:pt x="1493214" y="1880920"/>
                  <a:pt x="1923896" y="1459865"/>
                  <a:pt x="1923896" y="940460"/>
                </a:cubicBezTo>
                <a:cubicBezTo>
                  <a:pt x="1923896" y="421068"/>
                  <a:pt x="1493214" y="0"/>
                  <a:pt x="961948" y="0"/>
                </a:cubicBezTo>
                <a:cubicBezTo>
                  <a:pt x="430682" y="0"/>
                  <a:pt x="0" y="421068"/>
                  <a:pt x="0" y="940460"/>
                </a:cubicBezTo>
                <a:cubicBezTo>
                  <a:pt x="0" y="1459865"/>
                  <a:pt x="430682" y="1880920"/>
                  <a:pt x="961948" y="1880920"/>
                </a:cubicBezTo>
                <a:close/>
              </a:path>
            </a:pathLst>
          </a:custGeom>
          <a:noFill/>
          <a:ln w="19050" cap="flat" cmpd="sng">
            <a:solidFill>
              <a:srgbClr val="404040"/>
            </a:solidFill>
            <a:miter lim="508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84638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>
          <p15:clr>
            <a:srgbClr val="FBAE40"/>
          </p15:clr>
        </p15:guide>
        <p15:guide id="2" orient="horz" pos="45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CHREIBEN KLASS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A2A03CB-1971-4D19-8EC1-5DF9C280B1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66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A2A03CB-1971-4D19-8EC1-5DF9C280B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FE82DE-9DE0-40D5-A34E-06DF3339DC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Freeform 101">
            <a:extLst>
              <a:ext uri="{FF2B5EF4-FFF2-40B4-BE49-F238E27FC236}">
                <a16:creationId xmlns:a16="http://schemas.microsoft.com/office/drawing/2014/main" id="{179EDAF0-6C54-4A17-A920-0C872EBFB978}"/>
              </a:ext>
            </a:extLst>
          </p:cNvPr>
          <p:cNvSpPr/>
          <p:nvPr userDrawn="1"/>
        </p:nvSpPr>
        <p:spPr>
          <a:xfrm>
            <a:off x="0" y="3"/>
            <a:ext cx="2160000" cy="7561260"/>
          </a:xfrm>
          <a:custGeom>
            <a:avLst/>
            <a:gdLst/>
            <a:ahLst/>
            <a:cxnLst/>
            <a:rect l="0" t="0" r="0" b="0"/>
            <a:pathLst>
              <a:path w="2077327" h="7775994">
                <a:moveTo>
                  <a:pt x="0" y="7775994"/>
                </a:moveTo>
                <a:lnTo>
                  <a:pt x="2077327" y="7775994"/>
                </a:lnTo>
                <a:lnTo>
                  <a:pt x="2077327" y="0"/>
                </a:lnTo>
                <a:lnTo>
                  <a:pt x="0" y="0"/>
                </a:lnTo>
                <a:lnTo>
                  <a:pt x="0" y="7775994"/>
                </a:lnTo>
                <a:close/>
              </a:path>
            </a:pathLst>
          </a:custGeom>
          <a:solidFill>
            <a:srgbClr val="D8DEE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94C0A22A-F661-4215-BCF0-BBC621D7C521}"/>
              </a:ext>
            </a:extLst>
          </p:cNvPr>
          <p:cNvSpPr/>
          <p:nvPr userDrawn="1"/>
        </p:nvSpPr>
        <p:spPr>
          <a:xfrm>
            <a:off x="1688646" y="2418092"/>
            <a:ext cx="714467" cy="714467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endParaRPr kumimoji="0" lang="de-AT" sz="1400" b="0" i="0" u="none" strike="noStrike" kern="1200" cap="none" spc="0" normalizeH="0" baseline="0" noProof="0" dirty="0" err="1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B7E09C7-35D5-425C-BE01-B1891EEFEA15}"/>
              </a:ext>
            </a:extLst>
          </p:cNvPr>
          <p:cNvCxnSpPr>
            <a:cxnSpLocks/>
          </p:cNvCxnSpPr>
          <p:nvPr userDrawn="1"/>
        </p:nvCxnSpPr>
        <p:spPr>
          <a:xfrm>
            <a:off x="0" y="2796219"/>
            <a:ext cx="1882008" cy="0"/>
          </a:xfrm>
          <a:prstGeom prst="line">
            <a:avLst/>
          </a:prstGeom>
          <a:ln w="1905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83A38744-42C5-4288-AA7C-F11ADF124D3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39" y="546474"/>
            <a:ext cx="937211" cy="360000"/>
          </a:xfrm>
          <a:prstGeom prst="rect">
            <a:avLst/>
          </a:prstGeom>
        </p:spPr>
      </p:pic>
      <p:sp>
        <p:nvSpPr>
          <p:cNvPr id="22" name="Bildplatzhalter 19">
            <a:extLst>
              <a:ext uri="{FF2B5EF4-FFF2-40B4-BE49-F238E27FC236}">
                <a16:creationId xmlns:a16="http://schemas.microsoft.com/office/drawing/2014/main" id="{3A8149AD-498C-4922-A494-9E1F4DAF562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803084" y="4859656"/>
            <a:ext cx="720000" cy="1080000"/>
          </a:xfrm>
          <a:noFill/>
        </p:spPr>
        <p:txBody>
          <a:bodyPr lIns="72000" tIns="72000" rIns="72000" bIns="72000"/>
          <a:lstStyle>
            <a:lvl1pPr marL="0" indent="0" algn="ctr">
              <a:buNone/>
              <a:defRPr sz="700"/>
            </a:lvl1pPr>
          </a:lstStyle>
          <a:p>
            <a:r>
              <a:rPr lang="de-AT" dirty="0"/>
              <a:t>Hier Foto einfügen oder aus anderer Datei kopieren.</a:t>
            </a:r>
          </a:p>
        </p:txBody>
      </p:sp>
      <p:sp>
        <p:nvSpPr>
          <p:cNvPr id="24" name="Bildplatzhalter 19">
            <a:extLst>
              <a:ext uri="{FF2B5EF4-FFF2-40B4-BE49-F238E27FC236}">
                <a16:creationId xmlns:a16="http://schemas.microsoft.com/office/drawing/2014/main" id="{245F9B31-348B-49B2-B02D-7833D53BE34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83694" y="4859656"/>
            <a:ext cx="720000" cy="1080000"/>
          </a:xfrm>
          <a:noFill/>
        </p:spPr>
        <p:txBody>
          <a:bodyPr lIns="72000" tIns="72000" rIns="72000" bIns="72000"/>
          <a:lstStyle>
            <a:lvl1pPr marL="0" indent="0" algn="ctr">
              <a:buNone/>
              <a:defRPr sz="700"/>
            </a:lvl1pPr>
          </a:lstStyle>
          <a:p>
            <a:r>
              <a:rPr lang="de-AT" dirty="0"/>
              <a:t>Hier Foto einfügen oder aus anderer Datei kopieren.</a:t>
            </a:r>
          </a:p>
        </p:txBody>
      </p:sp>
      <p:sp>
        <p:nvSpPr>
          <p:cNvPr id="25" name="Bildplatzhalter 19">
            <a:extLst>
              <a:ext uri="{FF2B5EF4-FFF2-40B4-BE49-F238E27FC236}">
                <a16:creationId xmlns:a16="http://schemas.microsoft.com/office/drawing/2014/main" id="{4727D67B-994B-4ED1-977B-0D81476D68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56824" y="4859656"/>
            <a:ext cx="720000" cy="1080000"/>
          </a:xfrm>
          <a:noFill/>
        </p:spPr>
        <p:txBody>
          <a:bodyPr lIns="72000" tIns="72000" rIns="72000" bIns="72000"/>
          <a:lstStyle>
            <a:lvl1pPr marL="0" indent="0" algn="ctr">
              <a:buNone/>
              <a:defRPr sz="700"/>
            </a:lvl1pPr>
          </a:lstStyle>
          <a:p>
            <a:r>
              <a:rPr lang="de-AT" dirty="0"/>
              <a:t>Hier Foto einfügen oder aus anderer Datei kopieren.</a:t>
            </a:r>
          </a:p>
        </p:txBody>
      </p:sp>
      <p:sp>
        <p:nvSpPr>
          <p:cNvPr id="26" name="Bildplatzhalter 19">
            <a:extLst>
              <a:ext uri="{FF2B5EF4-FFF2-40B4-BE49-F238E27FC236}">
                <a16:creationId xmlns:a16="http://schemas.microsoft.com/office/drawing/2014/main" id="{9842EFD6-FFEB-4925-B11B-C90438BE53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29954" y="4859656"/>
            <a:ext cx="720000" cy="1080000"/>
          </a:xfrm>
          <a:noFill/>
        </p:spPr>
        <p:txBody>
          <a:bodyPr lIns="72000" tIns="72000" rIns="72000" bIns="72000"/>
          <a:lstStyle>
            <a:lvl1pPr marL="0" indent="0" algn="ctr">
              <a:buNone/>
              <a:defRPr sz="700"/>
            </a:lvl1pPr>
          </a:lstStyle>
          <a:p>
            <a:r>
              <a:rPr lang="de-AT" dirty="0"/>
              <a:t>Hier Foto einfügen oder aus anderer Datei kopieren.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DFC6AA5-845C-46C6-87FA-73BC5B9734A4}"/>
              </a:ext>
            </a:extLst>
          </p:cNvPr>
          <p:cNvSpPr txBox="1"/>
          <p:nvPr userDrawn="1"/>
        </p:nvSpPr>
        <p:spPr>
          <a:xfrm flipH="1">
            <a:off x="413696" y="2543948"/>
            <a:ext cx="1044111" cy="2285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1008044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kumimoji="0" lang="de-AT" sz="10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Arial"/>
              </a:rPr>
              <a:t>Empfänger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7EF8679D-07F0-48E3-B907-6082BBA0F0A1}"/>
              </a:ext>
            </a:extLst>
          </p:cNvPr>
          <p:cNvSpPr>
            <a:spLocks noChangeAspect="1"/>
          </p:cNvSpPr>
          <p:nvPr userDrawn="1"/>
        </p:nvSpPr>
        <p:spPr>
          <a:xfrm>
            <a:off x="114017" y="5945492"/>
            <a:ext cx="212806" cy="424800"/>
          </a:xfrm>
          <a:custGeom>
            <a:avLst/>
            <a:gdLst>
              <a:gd name="connsiteX0" fmla="*/ 468052 w 468946"/>
              <a:gd name="connsiteY0" fmla="*/ 0 h 936104"/>
              <a:gd name="connsiteX1" fmla="*/ 468946 w 468946"/>
              <a:gd name="connsiteY1" fmla="*/ 90 h 936104"/>
              <a:gd name="connsiteX2" fmla="*/ 468946 w 468946"/>
              <a:gd name="connsiteY2" fmla="*/ 936014 h 936104"/>
              <a:gd name="connsiteX3" fmla="*/ 468052 w 468946"/>
              <a:gd name="connsiteY3" fmla="*/ 936104 h 936104"/>
              <a:gd name="connsiteX4" fmla="*/ 0 w 468946"/>
              <a:gd name="connsiteY4" fmla="*/ 468052 h 936104"/>
              <a:gd name="connsiteX5" fmla="*/ 468052 w 468946"/>
              <a:gd name="connsiteY5" fmla="*/ 0 h 93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8946" h="936104">
                <a:moveTo>
                  <a:pt x="468052" y="0"/>
                </a:moveTo>
                <a:lnTo>
                  <a:pt x="468946" y="90"/>
                </a:lnTo>
                <a:lnTo>
                  <a:pt x="468946" y="936014"/>
                </a:lnTo>
                <a:lnTo>
                  <a:pt x="468052" y="936104"/>
                </a:lnTo>
                <a:cubicBezTo>
                  <a:pt x="209554" y="936104"/>
                  <a:pt x="0" y="726550"/>
                  <a:pt x="0" y="468052"/>
                </a:cubicBezTo>
                <a:cubicBezTo>
                  <a:pt x="0" y="209554"/>
                  <a:pt x="209554" y="0"/>
                  <a:pt x="468052" y="0"/>
                </a:cubicBezTo>
                <a:close/>
              </a:path>
            </a:pathLst>
          </a:custGeom>
          <a:solidFill>
            <a:srgbClr val="657C9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504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A2A03CB-1971-4D19-8EC1-5DF9C280B1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0244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A2A03CB-1971-4D19-8EC1-5DF9C280B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FE82DE-9DE0-40D5-A34E-06DF3339DC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CF8650A-6905-4903-A3A6-3405D41E53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8856" y="1027603"/>
            <a:ext cx="9900000" cy="22687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100804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1400" b="0" i="1" kern="12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Mastertextformat bearbeiten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C8A1E28-789A-44CF-87F3-A5DBFE9A8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856" y="0"/>
            <a:ext cx="9892905" cy="971548"/>
          </a:xfrm>
        </p:spPr>
        <p:txBody>
          <a:bodyPr/>
          <a:lstStyle/>
          <a:p>
            <a:r>
              <a:rPr lang="de-DE" dirty="0"/>
              <a:t>Mastertitelformat bearbeit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3747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A2A03CB-1971-4D19-8EC1-5DF9C280B1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874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A2A03CB-1971-4D19-8EC1-5DF9C280B1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FE82DE-9DE0-40D5-A34E-06DF3339DC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CF8650A-6905-4903-A3A6-3405D41E537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8856" y="1027603"/>
            <a:ext cx="9900000" cy="22687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 defTabSz="1008044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1400" b="0" i="1" kern="12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Mastertextformat bearbeiten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C8A1E28-789A-44CF-87F3-A5DBFE9A80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856" y="0"/>
            <a:ext cx="9892905" cy="971548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de-AT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E1389A0-E414-4F0C-88BE-9DD53EA4761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8856" y="1763713"/>
            <a:ext cx="9900000" cy="489743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356272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E374E8-C432-406D-A7A8-1926BB28D5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4000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E374E8-C432-406D-A7A8-1926BB28D5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8437B9CF-0BCC-4457-B967-AE9C978B649C}"/>
              </a:ext>
            </a:extLst>
          </p:cNvPr>
          <p:cNvSpPr/>
          <p:nvPr userDrawn="1"/>
        </p:nvSpPr>
        <p:spPr>
          <a:xfrm>
            <a:off x="0" y="0"/>
            <a:ext cx="10693400" cy="7561263"/>
          </a:xfrm>
          <a:prstGeom prst="rect">
            <a:avLst/>
          </a:prstGeom>
          <a:solidFill>
            <a:srgbClr val="657C9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537881C9-71A0-4D66-A735-C64BA46BDB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2284" y="1296447"/>
            <a:ext cx="6609184" cy="396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AT" sz="9600" b="1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296E887-E9AA-43B3-96A4-3545DB3E2B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76522" y="7109202"/>
            <a:ext cx="721437" cy="275124"/>
          </a:xfrm>
          <a:prstGeom prst="rect">
            <a:avLst/>
          </a:prstGeom>
        </p:spPr>
      </p:pic>
      <p:sp>
        <p:nvSpPr>
          <p:cNvPr id="5" name="Rectangle 167">
            <a:extLst>
              <a:ext uri="{FF2B5EF4-FFF2-40B4-BE49-F238E27FC236}">
                <a16:creationId xmlns:a16="http://schemas.microsoft.com/office/drawing/2014/main" id="{42D5EE71-6C52-41B4-8DF2-C2CA5E1DCB8C}"/>
              </a:ext>
            </a:extLst>
          </p:cNvPr>
          <p:cNvSpPr/>
          <p:nvPr userDrawn="1"/>
        </p:nvSpPr>
        <p:spPr>
          <a:xfrm>
            <a:off x="9270320" y="7193535"/>
            <a:ext cx="288000" cy="15388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algn="l"/>
            <a:fld id="{D1F8AC67-8649-4DF3-896E-D4ABC81FCA57}" type="slidenum">
              <a:rPr kumimoji="0" lang="de-AT" sz="1000" b="0" i="1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Aharoni" pitchFamily="2" charset="-79"/>
              </a:rPr>
              <a:pPr marL="0" algn="l"/>
              <a:t>‹Nr.›</a:t>
            </a:fld>
            <a:endParaRPr lang="en-US" sz="1000" i="1" spc="0" baseline="0" dirty="0">
              <a:solidFill>
                <a:schemeClr val="bg1"/>
              </a:solidFill>
            </a:endParaRPr>
          </a:p>
        </p:txBody>
      </p:sp>
      <p:sp>
        <p:nvSpPr>
          <p:cNvPr id="6" name="Rectangle 167">
            <a:extLst>
              <a:ext uri="{FF2B5EF4-FFF2-40B4-BE49-F238E27FC236}">
                <a16:creationId xmlns:a16="http://schemas.microsoft.com/office/drawing/2014/main" id="{846B7288-0C5B-4F82-AD76-CA36F1311407}"/>
              </a:ext>
            </a:extLst>
          </p:cNvPr>
          <p:cNvSpPr/>
          <p:nvPr userDrawn="1"/>
        </p:nvSpPr>
        <p:spPr>
          <a:xfrm>
            <a:off x="9128818" y="7193535"/>
            <a:ext cx="107402" cy="15388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 marL="0" algn="r"/>
            <a:r>
              <a:rPr lang="en-US" sz="1000" i="1" spc="0" baseline="0" dirty="0">
                <a:solidFill>
                  <a:schemeClr val="bg1"/>
                </a:solidFill>
              </a:rPr>
              <a:t>S.</a:t>
            </a:r>
          </a:p>
        </p:txBody>
      </p:sp>
      <p:sp>
        <p:nvSpPr>
          <p:cNvPr id="11" name="Freeform 141">
            <a:extLst>
              <a:ext uri="{FF2B5EF4-FFF2-40B4-BE49-F238E27FC236}">
                <a16:creationId xmlns:a16="http://schemas.microsoft.com/office/drawing/2014/main" id="{66CE107B-9AB9-48D2-8EE7-10D43D19C3AC}"/>
              </a:ext>
            </a:extLst>
          </p:cNvPr>
          <p:cNvSpPr/>
          <p:nvPr userDrawn="1"/>
        </p:nvSpPr>
        <p:spPr>
          <a:xfrm>
            <a:off x="1602283" y="5296441"/>
            <a:ext cx="1188000" cy="108000"/>
          </a:xfrm>
          <a:custGeom>
            <a:avLst/>
            <a:gdLst/>
            <a:ahLst/>
            <a:cxnLst/>
            <a:rect l="0" t="0" r="0" b="0"/>
            <a:pathLst>
              <a:path w="1079995" h="108001">
                <a:moveTo>
                  <a:pt x="0" y="108001"/>
                </a:moveTo>
                <a:lnTo>
                  <a:pt x="1079995" y="108001"/>
                </a:lnTo>
                <a:lnTo>
                  <a:pt x="1079995" y="0"/>
                </a:lnTo>
                <a:lnTo>
                  <a:pt x="0" y="0"/>
                </a:lnTo>
                <a:lnTo>
                  <a:pt x="0" y="108001"/>
                </a:lnTo>
                <a:close/>
              </a:path>
            </a:pathLst>
          </a:custGeom>
          <a:solidFill>
            <a:srgbClr val="B2BDC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endParaRPr lang="de-AT" u="sng">
              <a:solidFill>
                <a:schemeClr val="tx2"/>
              </a:solidFill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6B5AE73E-6AA1-40C0-BD37-4A69D1ADFC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875" y="214282"/>
            <a:ext cx="6750026" cy="83099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lang="de-AT" sz="6000" b="1" kern="1200" cap="all" baseline="0" dirty="0">
                <a:solidFill>
                  <a:srgbClr val="B2BDC8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 err="1"/>
              <a:t>zb</a:t>
            </a:r>
            <a:r>
              <a:rPr lang="de-DE" dirty="0"/>
              <a:t>: </a:t>
            </a:r>
            <a:r>
              <a:rPr lang="de-DE" dirty="0" err="1"/>
              <a:t>KapitelNR</a:t>
            </a:r>
            <a:r>
              <a:rPr lang="de-DE" dirty="0"/>
              <a:t>.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DA061377-87EF-46B0-861C-FE43C7376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602284" y="5662367"/>
            <a:ext cx="4464496" cy="98564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spcBef>
                <a:spcPts val="0"/>
              </a:spcBef>
              <a:buNone/>
              <a:defRPr sz="1800" b="0" i="1">
                <a:solidFill>
                  <a:schemeClr val="bg1"/>
                </a:solidFill>
                <a:latin typeface="+mn-lt"/>
              </a:defRPr>
            </a:lvl1pPr>
            <a:lvl2pPr marL="503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5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0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Lorem ipsum dolor sit amet, consectetuer adipiscing elit. Maecenas porttitor congue massa. Fusce posuere, magna sed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26" name="Bogen 25">
            <a:extLst>
              <a:ext uri="{FF2B5EF4-FFF2-40B4-BE49-F238E27FC236}">
                <a16:creationId xmlns:a16="http://schemas.microsoft.com/office/drawing/2014/main" id="{B12009B6-288F-4DB1-AAC5-764C2659B55B}"/>
              </a:ext>
            </a:extLst>
          </p:cNvPr>
          <p:cNvSpPr/>
          <p:nvPr userDrawn="1"/>
        </p:nvSpPr>
        <p:spPr>
          <a:xfrm>
            <a:off x="-2646188" y="-1331937"/>
            <a:ext cx="11715790" cy="11715790"/>
          </a:xfrm>
          <a:prstGeom prst="arc">
            <a:avLst>
              <a:gd name="adj1" fmla="val 18568339"/>
              <a:gd name="adj2" fmla="val 1898565"/>
            </a:avLst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91977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tags" Target="../tags/tag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9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heme" Target="../theme/theme3.xml"/><Relationship Id="rId9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77E271B-633C-43C4-AAD4-C0E04BA4AA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67663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06" imgH="308" progId="TCLayout.ActiveDocument.1">
                  <p:embed/>
                </p:oleObj>
              </mc:Choice>
              <mc:Fallback>
                <p:oleObj name="think-cell Folie" r:id="rId9" imgW="306" imgH="30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77E271B-633C-43C4-AAD4-C0E04BA4A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CCDB2E77-ABE5-46C1-93E1-5E3240EC59F7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DE" sz="1800" b="1" i="0" baseline="0" dirty="0" err="1">
              <a:solidFill>
                <a:schemeClr val="tx1"/>
              </a:solidFill>
              <a:latin typeface="Trebuchet MS" panose="020B0603020202020204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ilename" hidden="1"/>
          <p:cNvSpPr txBox="1"/>
          <p:nvPr/>
        </p:nvSpPr>
        <p:spPr>
          <a:xfrm>
            <a:off x="522287" y="7398490"/>
            <a:ext cx="8151401" cy="16277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e-AT" sz="500" noProof="1">
                <a:solidFill>
                  <a:schemeClr val="tx1"/>
                </a:solidFill>
                <a:latin typeface="Trebuchet MS" panose="020B0603020202020204" pitchFamily="34" charset="0"/>
                <a:cs typeface="Arial" pitchFamily="34" charset="0"/>
              </a:rPr>
              <a:t>A:\05 Templates\Powerpoint\Angebotsvorlage\Liska Sabrina\Screenmaster_V03_SL_mit-BDOFarbcode.pptx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02334BD7-1964-4F4E-97A3-62DC5DEF84B2}"/>
              </a:ext>
            </a:extLst>
          </p:cNvPr>
          <p:cNvSpPr/>
          <p:nvPr userDrawn="1"/>
        </p:nvSpPr>
        <p:spPr>
          <a:xfrm rot="5400000">
            <a:off x="10842596" y="2872425"/>
            <a:ext cx="360000" cy="360000"/>
          </a:xfrm>
          <a:prstGeom prst="rect">
            <a:avLst/>
          </a:prstGeom>
          <a:solidFill>
            <a:srgbClr val="F1536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AF0DE825-523F-41BA-B83B-9AEECFB9E621}"/>
              </a:ext>
            </a:extLst>
          </p:cNvPr>
          <p:cNvSpPr/>
          <p:nvPr userDrawn="1"/>
        </p:nvSpPr>
        <p:spPr>
          <a:xfrm rot="5400000">
            <a:off x="10842596" y="2433077"/>
            <a:ext cx="360000" cy="360000"/>
          </a:xfrm>
          <a:prstGeom prst="rect">
            <a:avLst/>
          </a:prstGeom>
          <a:solidFill>
            <a:srgbClr val="F68C9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7" name="Rechteck 106">
            <a:extLst>
              <a:ext uri="{FF2B5EF4-FFF2-40B4-BE49-F238E27FC236}">
                <a16:creationId xmlns:a16="http://schemas.microsoft.com/office/drawing/2014/main" id="{FEB23257-655D-4ACD-AD71-DCE9D0A511AF}"/>
              </a:ext>
            </a:extLst>
          </p:cNvPr>
          <p:cNvSpPr/>
          <p:nvPr userDrawn="1"/>
        </p:nvSpPr>
        <p:spPr>
          <a:xfrm rot="5400000">
            <a:off x="10842596" y="1993169"/>
            <a:ext cx="360000" cy="360000"/>
          </a:xfrm>
          <a:prstGeom prst="rect">
            <a:avLst/>
          </a:prstGeom>
          <a:solidFill>
            <a:srgbClr val="FAC5C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A5A70F0-0F22-4147-8BE8-7FE16D145D3C}"/>
              </a:ext>
            </a:extLst>
          </p:cNvPr>
          <p:cNvSpPr/>
          <p:nvPr userDrawn="1"/>
        </p:nvSpPr>
        <p:spPr>
          <a:xfrm rot="5400000">
            <a:off x="10842596" y="4629817"/>
            <a:ext cx="360000" cy="360000"/>
          </a:xfrm>
          <a:prstGeom prst="rect">
            <a:avLst/>
          </a:prstGeom>
          <a:solidFill>
            <a:srgbClr val="A00C2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D2D98572-9662-4FED-9C5C-1B177B3BD5C9}"/>
              </a:ext>
            </a:extLst>
          </p:cNvPr>
          <p:cNvSpPr/>
          <p:nvPr userDrawn="1"/>
        </p:nvSpPr>
        <p:spPr>
          <a:xfrm rot="5400000">
            <a:off x="10842596" y="5069165"/>
            <a:ext cx="360000" cy="360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703A6066-82FD-4BF5-B84D-FB8452CEE086}"/>
              </a:ext>
            </a:extLst>
          </p:cNvPr>
          <p:cNvSpPr/>
          <p:nvPr userDrawn="1"/>
        </p:nvSpPr>
        <p:spPr>
          <a:xfrm rot="5400000">
            <a:off x="10842596" y="4190469"/>
            <a:ext cx="360000" cy="360000"/>
          </a:xfrm>
          <a:prstGeom prst="rect">
            <a:avLst/>
          </a:prstGeom>
          <a:solidFill>
            <a:srgbClr val="C6102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8F8A1E1D-5D25-427C-8633-9FE05A1F6A31}"/>
              </a:ext>
            </a:extLst>
          </p:cNvPr>
          <p:cNvSpPr/>
          <p:nvPr userDrawn="1"/>
        </p:nvSpPr>
        <p:spPr>
          <a:xfrm rot="5400000">
            <a:off x="10842596" y="3311773"/>
            <a:ext cx="360000" cy="360000"/>
          </a:xfrm>
          <a:prstGeom prst="rect">
            <a:avLst/>
          </a:prstGeom>
          <a:solidFill>
            <a:srgbClr val="ED1A3B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DB6AB9A1-40FB-409A-9E99-99B0AAFBFF21}"/>
              </a:ext>
            </a:extLst>
          </p:cNvPr>
          <p:cNvSpPr/>
          <p:nvPr userDrawn="1"/>
        </p:nvSpPr>
        <p:spPr>
          <a:xfrm rot="5400000">
            <a:off x="10842596" y="5505015"/>
            <a:ext cx="360000" cy="360000"/>
          </a:xfrm>
          <a:prstGeom prst="rect">
            <a:avLst/>
          </a:prstGeom>
          <a:solidFill>
            <a:srgbClr val="67091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98E4BE1B-E890-47F2-824D-22FEC3C4B897}"/>
              </a:ext>
            </a:extLst>
          </p:cNvPr>
          <p:cNvSpPr/>
          <p:nvPr userDrawn="1"/>
        </p:nvSpPr>
        <p:spPr>
          <a:xfrm rot="5400000">
            <a:off x="11297556" y="2873179"/>
            <a:ext cx="360000" cy="360000"/>
          </a:xfrm>
          <a:prstGeom prst="rect">
            <a:avLst/>
          </a:prstGeom>
          <a:solidFill>
            <a:srgbClr val="B2BD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B1760114-D07E-4B1A-A4BF-2F85BCF7E3E4}"/>
              </a:ext>
            </a:extLst>
          </p:cNvPr>
          <p:cNvSpPr/>
          <p:nvPr userDrawn="1"/>
        </p:nvSpPr>
        <p:spPr>
          <a:xfrm rot="5400000">
            <a:off x="11297556" y="2433968"/>
            <a:ext cx="360000" cy="360000"/>
          </a:xfrm>
          <a:prstGeom prst="rect">
            <a:avLst/>
          </a:prstGeom>
          <a:solidFill>
            <a:srgbClr val="C1CBD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C8E482D3-2466-47DC-A253-6DCC241802D0}"/>
              </a:ext>
            </a:extLst>
          </p:cNvPr>
          <p:cNvSpPr/>
          <p:nvPr userDrawn="1"/>
        </p:nvSpPr>
        <p:spPr>
          <a:xfrm rot="5400000">
            <a:off x="11297556" y="4190812"/>
            <a:ext cx="360000" cy="360000"/>
          </a:xfrm>
          <a:prstGeom prst="rect">
            <a:avLst/>
          </a:prstGeom>
          <a:solidFill>
            <a:srgbClr val="4B5D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D325EEC0-8127-41D4-82FC-528350B9B48A}"/>
              </a:ext>
            </a:extLst>
          </p:cNvPr>
          <p:cNvSpPr/>
          <p:nvPr userDrawn="1"/>
        </p:nvSpPr>
        <p:spPr>
          <a:xfrm rot="5400000">
            <a:off x="11297556" y="3751601"/>
            <a:ext cx="360000" cy="360000"/>
          </a:xfrm>
          <a:prstGeom prst="rect">
            <a:avLst/>
          </a:prstGeom>
          <a:solidFill>
            <a:srgbClr val="657C91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945EEBF8-1385-43BB-B574-B5D91DCAEB69}"/>
              </a:ext>
            </a:extLst>
          </p:cNvPr>
          <p:cNvSpPr/>
          <p:nvPr userDrawn="1"/>
        </p:nvSpPr>
        <p:spPr>
          <a:xfrm rot="5400000">
            <a:off x="11297556" y="3312390"/>
            <a:ext cx="360000" cy="360000"/>
          </a:xfrm>
          <a:prstGeom prst="rect">
            <a:avLst/>
          </a:prstGeom>
          <a:solidFill>
            <a:srgbClr val="8B9C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7719CBEC-1C67-4244-AEC4-555C7B4F0526}"/>
              </a:ext>
            </a:extLst>
          </p:cNvPr>
          <p:cNvSpPr/>
          <p:nvPr userDrawn="1"/>
        </p:nvSpPr>
        <p:spPr>
          <a:xfrm rot="5400000">
            <a:off x="10842596" y="3751121"/>
            <a:ext cx="360000" cy="360000"/>
          </a:xfrm>
          <a:prstGeom prst="rect">
            <a:avLst/>
          </a:prstGeom>
          <a:solidFill>
            <a:srgbClr val="D111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A9261BF1-9498-4563-B876-A538BDD5BA58}"/>
              </a:ext>
            </a:extLst>
          </p:cNvPr>
          <p:cNvSpPr/>
          <p:nvPr userDrawn="1"/>
        </p:nvSpPr>
        <p:spPr>
          <a:xfrm rot="5400000">
            <a:off x="11297556" y="1994757"/>
            <a:ext cx="360000" cy="360000"/>
          </a:xfrm>
          <a:prstGeom prst="rect">
            <a:avLst/>
          </a:prstGeom>
          <a:solidFill>
            <a:srgbClr val="D8DEE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CEC63D24-DD64-4C3A-8534-055DE5D73C11}"/>
              </a:ext>
            </a:extLst>
          </p:cNvPr>
          <p:cNvSpPr/>
          <p:nvPr userDrawn="1"/>
        </p:nvSpPr>
        <p:spPr>
          <a:xfrm rot="5400000">
            <a:off x="11297556" y="1555739"/>
            <a:ext cx="360000" cy="360000"/>
          </a:xfrm>
          <a:prstGeom prst="rect">
            <a:avLst/>
          </a:prstGeom>
          <a:solidFill>
            <a:srgbClr val="E9EC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BFB4322F-6280-4BF4-985B-7B28C6D6842A}"/>
              </a:ext>
            </a:extLst>
          </p:cNvPr>
          <p:cNvSpPr/>
          <p:nvPr userDrawn="1"/>
        </p:nvSpPr>
        <p:spPr>
          <a:xfrm rot="5400000">
            <a:off x="11745190" y="4190469"/>
            <a:ext cx="360000" cy="360000"/>
          </a:xfrm>
          <a:prstGeom prst="rect">
            <a:avLst/>
          </a:prstGeom>
          <a:solidFill>
            <a:srgbClr val="51515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B23B5C52-9DA2-487F-9A80-61AA48BDD543}"/>
              </a:ext>
            </a:extLst>
          </p:cNvPr>
          <p:cNvSpPr/>
          <p:nvPr userDrawn="1"/>
        </p:nvSpPr>
        <p:spPr>
          <a:xfrm rot="5400000">
            <a:off x="11745190" y="3751121"/>
            <a:ext cx="360000" cy="360000"/>
          </a:xfrm>
          <a:prstGeom prst="rect">
            <a:avLst/>
          </a:prstGeom>
          <a:solidFill>
            <a:srgbClr val="6D6D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3" name="Rechteck 122">
            <a:extLst>
              <a:ext uri="{FF2B5EF4-FFF2-40B4-BE49-F238E27FC236}">
                <a16:creationId xmlns:a16="http://schemas.microsoft.com/office/drawing/2014/main" id="{91D66171-78B8-4A17-AC9D-88641BBE5D8D}"/>
              </a:ext>
            </a:extLst>
          </p:cNvPr>
          <p:cNvSpPr/>
          <p:nvPr userDrawn="1"/>
        </p:nvSpPr>
        <p:spPr>
          <a:xfrm rot="5400000">
            <a:off x="11297556" y="1116528"/>
            <a:ext cx="360000" cy="360000"/>
          </a:xfrm>
          <a:prstGeom prst="rect">
            <a:avLst/>
          </a:prstGeom>
          <a:solidFill>
            <a:srgbClr val="F1F3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1ED21F07-D1FC-4AA4-8827-72BB7C1B8871}"/>
              </a:ext>
            </a:extLst>
          </p:cNvPr>
          <p:cNvSpPr/>
          <p:nvPr userDrawn="1"/>
        </p:nvSpPr>
        <p:spPr>
          <a:xfrm rot="5400000">
            <a:off x="11745190" y="4633354"/>
            <a:ext cx="360000" cy="360000"/>
          </a:xfrm>
          <a:prstGeom prst="rect">
            <a:avLst/>
          </a:prstGeom>
          <a:solidFill>
            <a:srgbClr val="404040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AT" sz="900" b="0" i="0" u="none" strike="noStrike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6EB919DD-C8F9-4228-BDB7-E8BF87615141}"/>
              </a:ext>
            </a:extLst>
          </p:cNvPr>
          <p:cNvSpPr/>
          <p:nvPr userDrawn="1"/>
        </p:nvSpPr>
        <p:spPr>
          <a:xfrm rot="5400000">
            <a:off x="12191885" y="3313930"/>
            <a:ext cx="360000" cy="360000"/>
          </a:xfrm>
          <a:prstGeom prst="rect">
            <a:avLst/>
          </a:prstGeom>
          <a:solidFill>
            <a:srgbClr val="2CBEB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8A852220-CFD3-454F-9D8B-A14CDA28EBEA}"/>
              </a:ext>
            </a:extLst>
          </p:cNvPr>
          <p:cNvSpPr/>
          <p:nvPr userDrawn="1"/>
        </p:nvSpPr>
        <p:spPr>
          <a:xfrm rot="5400000">
            <a:off x="12640458" y="3316087"/>
            <a:ext cx="360000" cy="360000"/>
          </a:xfrm>
          <a:prstGeom prst="rect">
            <a:avLst/>
          </a:prstGeom>
          <a:solidFill>
            <a:srgbClr val="E3945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7FD4057A-EA31-4CF8-B09A-63EE61597118}"/>
              </a:ext>
            </a:extLst>
          </p:cNvPr>
          <p:cNvSpPr/>
          <p:nvPr userDrawn="1"/>
        </p:nvSpPr>
        <p:spPr>
          <a:xfrm rot="5400000">
            <a:off x="12191885" y="3751121"/>
            <a:ext cx="360000" cy="360000"/>
          </a:xfrm>
          <a:prstGeom prst="rect">
            <a:avLst/>
          </a:prstGeom>
          <a:solidFill>
            <a:srgbClr val="26A29C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4EFF8B93-B30C-4992-8D25-C29C7665E643}"/>
              </a:ext>
            </a:extLst>
          </p:cNvPr>
          <p:cNvSpPr/>
          <p:nvPr userDrawn="1"/>
        </p:nvSpPr>
        <p:spPr>
          <a:xfrm rot="5400000">
            <a:off x="12640458" y="3748120"/>
            <a:ext cx="360000" cy="360000"/>
          </a:xfrm>
          <a:prstGeom prst="rect">
            <a:avLst/>
          </a:prstGeom>
          <a:solidFill>
            <a:srgbClr val="DF8639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9" name="Rechteck 128">
            <a:extLst>
              <a:ext uri="{FF2B5EF4-FFF2-40B4-BE49-F238E27FC236}">
                <a16:creationId xmlns:a16="http://schemas.microsoft.com/office/drawing/2014/main" id="{2232979D-08BD-4C4A-A2C3-1530646A7D26}"/>
              </a:ext>
            </a:extLst>
          </p:cNvPr>
          <p:cNvSpPr/>
          <p:nvPr userDrawn="1"/>
        </p:nvSpPr>
        <p:spPr>
          <a:xfrm rot="5400000">
            <a:off x="12191885" y="4194006"/>
            <a:ext cx="360000" cy="360000"/>
          </a:xfrm>
          <a:prstGeom prst="rect">
            <a:avLst/>
          </a:prstGeom>
          <a:solidFill>
            <a:srgbClr val="218F8B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AT" sz="900" b="0" i="0" u="none" strike="noStrike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30" name="Rechteck 129">
            <a:extLst>
              <a:ext uri="{FF2B5EF4-FFF2-40B4-BE49-F238E27FC236}">
                <a16:creationId xmlns:a16="http://schemas.microsoft.com/office/drawing/2014/main" id="{63335D60-75E3-4B76-A29D-664714491C51}"/>
              </a:ext>
            </a:extLst>
          </p:cNvPr>
          <p:cNvSpPr/>
          <p:nvPr userDrawn="1"/>
        </p:nvSpPr>
        <p:spPr>
          <a:xfrm rot="5400000">
            <a:off x="12640458" y="4194006"/>
            <a:ext cx="360000" cy="360000"/>
          </a:xfrm>
          <a:prstGeom prst="rect">
            <a:avLst/>
          </a:prstGeom>
          <a:solidFill>
            <a:srgbClr val="CA6D2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1" name="Rechteck 130">
            <a:extLst>
              <a:ext uri="{FF2B5EF4-FFF2-40B4-BE49-F238E27FC236}">
                <a16:creationId xmlns:a16="http://schemas.microsoft.com/office/drawing/2014/main" id="{4779C4BB-24CF-4260-8096-FDCBD43561E4}"/>
              </a:ext>
            </a:extLst>
          </p:cNvPr>
          <p:cNvSpPr/>
          <p:nvPr userDrawn="1"/>
        </p:nvSpPr>
        <p:spPr>
          <a:xfrm rot="5400000">
            <a:off x="11745190" y="3311773"/>
            <a:ext cx="360000" cy="360000"/>
          </a:xfrm>
          <a:prstGeom prst="rect">
            <a:avLst/>
          </a:prstGeom>
          <a:solidFill>
            <a:srgbClr val="8C8C8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2" name="Rechteck 131">
            <a:extLst>
              <a:ext uri="{FF2B5EF4-FFF2-40B4-BE49-F238E27FC236}">
                <a16:creationId xmlns:a16="http://schemas.microsoft.com/office/drawing/2014/main" id="{8FFDA816-2A2B-47BB-909D-60F466673546}"/>
              </a:ext>
            </a:extLst>
          </p:cNvPr>
          <p:cNvSpPr/>
          <p:nvPr userDrawn="1"/>
        </p:nvSpPr>
        <p:spPr>
          <a:xfrm rot="5400000">
            <a:off x="11745190" y="2872425"/>
            <a:ext cx="360000" cy="360000"/>
          </a:xfrm>
          <a:prstGeom prst="rect">
            <a:avLst/>
          </a:prstGeom>
          <a:solidFill>
            <a:srgbClr val="AEAEA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3" name="Rechteck 132">
            <a:extLst>
              <a:ext uri="{FF2B5EF4-FFF2-40B4-BE49-F238E27FC236}">
                <a16:creationId xmlns:a16="http://schemas.microsoft.com/office/drawing/2014/main" id="{45762436-6740-4AE0-8863-28975D7D10D8}"/>
              </a:ext>
            </a:extLst>
          </p:cNvPr>
          <p:cNvSpPr/>
          <p:nvPr userDrawn="1"/>
        </p:nvSpPr>
        <p:spPr>
          <a:xfrm rot="5400000">
            <a:off x="11745190" y="2434105"/>
            <a:ext cx="360000" cy="360000"/>
          </a:xfrm>
          <a:prstGeom prst="rect">
            <a:avLst/>
          </a:prstGeom>
          <a:solidFill>
            <a:srgbClr val="CBC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4" name="Rechteck 133">
            <a:extLst>
              <a:ext uri="{FF2B5EF4-FFF2-40B4-BE49-F238E27FC236}">
                <a16:creationId xmlns:a16="http://schemas.microsoft.com/office/drawing/2014/main" id="{78265B1C-C2BF-493F-AC00-7068D149C498}"/>
              </a:ext>
            </a:extLst>
          </p:cNvPr>
          <p:cNvSpPr/>
          <p:nvPr userDrawn="1"/>
        </p:nvSpPr>
        <p:spPr>
          <a:xfrm rot="5400000">
            <a:off x="12191885" y="4629817"/>
            <a:ext cx="360000" cy="360000"/>
          </a:xfrm>
          <a:prstGeom prst="rect">
            <a:avLst/>
          </a:prstGeom>
          <a:solidFill>
            <a:srgbClr val="1971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5" name="Rechteck 134">
            <a:extLst>
              <a:ext uri="{FF2B5EF4-FFF2-40B4-BE49-F238E27FC236}">
                <a16:creationId xmlns:a16="http://schemas.microsoft.com/office/drawing/2014/main" id="{B3D506D1-EF3B-4F79-A653-A2A303D7CFD6}"/>
              </a:ext>
            </a:extLst>
          </p:cNvPr>
          <p:cNvSpPr/>
          <p:nvPr userDrawn="1"/>
        </p:nvSpPr>
        <p:spPr>
          <a:xfrm rot="5400000">
            <a:off x="12191885" y="5069165"/>
            <a:ext cx="360000" cy="360000"/>
          </a:xfrm>
          <a:prstGeom prst="rect">
            <a:avLst/>
          </a:prstGeom>
          <a:solidFill>
            <a:srgbClr val="104C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6" name="Rechteck 135">
            <a:extLst>
              <a:ext uri="{FF2B5EF4-FFF2-40B4-BE49-F238E27FC236}">
                <a16:creationId xmlns:a16="http://schemas.microsoft.com/office/drawing/2014/main" id="{20C4B76B-E115-45CD-8AA0-2CC83667AFE6}"/>
              </a:ext>
            </a:extLst>
          </p:cNvPr>
          <p:cNvSpPr/>
          <p:nvPr userDrawn="1"/>
        </p:nvSpPr>
        <p:spPr>
          <a:xfrm rot="5400000">
            <a:off x="11745211" y="5073533"/>
            <a:ext cx="360000" cy="360000"/>
          </a:xfrm>
          <a:prstGeom prst="rect">
            <a:avLst/>
          </a:prstGeom>
          <a:solidFill>
            <a:srgbClr val="2A2A2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6C2B6BC4-556F-40A4-A998-2BAACEDF632D}"/>
              </a:ext>
            </a:extLst>
          </p:cNvPr>
          <p:cNvSpPr/>
          <p:nvPr userDrawn="1"/>
        </p:nvSpPr>
        <p:spPr>
          <a:xfrm rot="5400000">
            <a:off x="12191885" y="1993729"/>
            <a:ext cx="360000" cy="360000"/>
          </a:xfrm>
          <a:prstGeom prst="rect">
            <a:avLst/>
          </a:prstGeom>
          <a:solidFill>
            <a:srgbClr val="9FE9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3BCE7172-FBAA-46AC-A912-452E928828BC}"/>
              </a:ext>
            </a:extLst>
          </p:cNvPr>
          <p:cNvSpPr/>
          <p:nvPr userDrawn="1"/>
        </p:nvSpPr>
        <p:spPr>
          <a:xfrm rot="5400000">
            <a:off x="12191885" y="2433077"/>
            <a:ext cx="360000" cy="360000"/>
          </a:xfrm>
          <a:prstGeom prst="rect">
            <a:avLst/>
          </a:prstGeom>
          <a:solidFill>
            <a:srgbClr val="6DDD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39" name="Rechteck 138">
            <a:extLst>
              <a:ext uri="{FF2B5EF4-FFF2-40B4-BE49-F238E27FC236}">
                <a16:creationId xmlns:a16="http://schemas.microsoft.com/office/drawing/2014/main" id="{1BC799C7-C009-4CD6-9FD5-0FDB09068895}"/>
              </a:ext>
            </a:extLst>
          </p:cNvPr>
          <p:cNvSpPr/>
          <p:nvPr userDrawn="1"/>
        </p:nvSpPr>
        <p:spPr>
          <a:xfrm rot="5400000">
            <a:off x="12191885" y="2872425"/>
            <a:ext cx="360000" cy="360000"/>
          </a:xfrm>
          <a:prstGeom prst="rect">
            <a:avLst/>
          </a:prstGeom>
          <a:solidFill>
            <a:srgbClr val="34D0C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41" name="Rechteck 140">
            <a:extLst>
              <a:ext uri="{FF2B5EF4-FFF2-40B4-BE49-F238E27FC236}">
                <a16:creationId xmlns:a16="http://schemas.microsoft.com/office/drawing/2014/main" id="{19AA78E2-B549-4A3B-A8FF-BC9C3733C500}"/>
              </a:ext>
            </a:extLst>
          </p:cNvPr>
          <p:cNvSpPr/>
          <p:nvPr userDrawn="1"/>
        </p:nvSpPr>
        <p:spPr>
          <a:xfrm rot="5400000">
            <a:off x="12640458" y="5505015"/>
            <a:ext cx="360000" cy="360000"/>
          </a:xfrm>
          <a:prstGeom prst="rect">
            <a:avLst/>
          </a:prstGeom>
          <a:solidFill>
            <a:srgbClr val="98002E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56D468A9-6960-4948-895D-67DB124C218F}"/>
              </a:ext>
            </a:extLst>
          </p:cNvPr>
          <p:cNvSpPr/>
          <p:nvPr userDrawn="1"/>
        </p:nvSpPr>
        <p:spPr>
          <a:xfrm rot="5400000">
            <a:off x="12640458" y="2439791"/>
            <a:ext cx="360000" cy="360000"/>
          </a:xfrm>
          <a:prstGeom prst="rect">
            <a:avLst/>
          </a:prstGeom>
          <a:solidFill>
            <a:srgbClr val="02A5E2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92D53B0E-7D97-4CFF-B868-32AE5A8DD6C2}"/>
              </a:ext>
            </a:extLst>
          </p:cNvPr>
          <p:cNvSpPr/>
          <p:nvPr userDrawn="1"/>
        </p:nvSpPr>
        <p:spPr>
          <a:xfrm rot="5400000">
            <a:off x="12640458" y="5069165"/>
            <a:ext cx="360000" cy="360000"/>
          </a:xfrm>
          <a:prstGeom prst="rect">
            <a:avLst/>
          </a:prstGeom>
          <a:solidFill>
            <a:srgbClr val="B13F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44" name="Rechteck 143">
            <a:extLst>
              <a:ext uri="{FF2B5EF4-FFF2-40B4-BE49-F238E27FC236}">
                <a16:creationId xmlns:a16="http://schemas.microsoft.com/office/drawing/2014/main" id="{59DFC2C9-0A24-4336-932C-B8256533821B}"/>
              </a:ext>
            </a:extLst>
          </p:cNvPr>
          <p:cNvSpPr/>
          <p:nvPr userDrawn="1"/>
        </p:nvSpPr>
        <p:spPr>
          <a:xfrm rot="5400000">
            <a:off x="12640458" y="2000443"/>
            <a:ext cx="360000" cy="360000"/>
          </a:xfrm>
          <a:prstGeom prst="rect">
            <a:avLst/>
          </a:prstGeom>
          <a:solidFill>
            <a:srgbClr val="41BB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45" name="Rechteck 144">
            <a:extLst>
              <a:ext uri="{FF2B5EF4-FFF2-40B4-BE49-F238E27FC236}">
                <a16:creationId xmlns:a16="http://schemas.microsoft.com/office/drawing/2014/main" id="{B0A52E8D-EEB6-436B-AE78-032CCF0078D7}"/>
              </a:ext>
            </a:extLst>
          </p:cNvPr>
          <p:cNvSpPr/>
          <p:nvPr userDrawn="1"/>
        </p:nvSpPr>
        <p:spPr>
          <a:xfrm rot="5400000">
            <a:off x="12640458" y="4629817"/>
            <a:ext cx="360000" cy="360000"/>
          </a:xfrm>
          <a:prstGeom prst="rect">
            <a:avLst/>
          </a:prstGeom>
          <a:solidFill>
            <a:srgbClr val="CB7F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46" name="Rechteck 145">
            <a:extLst>
              <a:ext uri="{FF2B5EF4-FFF2-40B4-BE49-F238E27FC236}">
                <a16:creationId xmlns:a16="http://schemas.microsoft.com/office/drawing/2014/main" id="{349E61FF-CC2C-4D5D-8577-408A0B3B1E08}"/>
              </a:ext>
            </a:extLst>
          </p:cNvPr>
          <p:cNvSpPr/>
          <p:nvPr userDrawn="1"/>
        </p:nvSpPr>
        <p:spPr>
          <a:xfrm rot="5400000">
            <a:off x="12640458" y="1568410"/>
            <a:ext cx="360000" cy="360000"/>
          </a:xfrm>
          <a:prstGeom prst="rect">
            <a:avLst/>
          </a:prstGeom>
          <a:solidFill>
            <a:srgbClr val="80D2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47" name="Rechteck 146">
            <a:extLst>
              <a:ext uri="{FF2B5EF4-FFF2-40B4-BE49-F238E27FC236}">
                <a16:creationId xmlns:a16="http://schemas.microsoft.com/office/drawing/2014/main" id="{A3BC242D-5DBB-493B-929F-4297A01F1504}"/>
              </a:ext>
            </a:extLst>
          </p:cNvPr>
          <p:cNvSpPr/>
          <p:nvPr userDrawn="1"/>
        </p:nvSpPr>
        <p:spPr>
          <a:xfrm rot="5400000">
            <a:off x="12640458" y="1127401"/>
            <a:ext cx="360000" cy="360000"/>
          </a:xfrm>
          <a:prstGeom prst="rect">
            <a:avLst/>
          </a:prstGeom>
          <a:solidFill>
            <a:srgbClr val="BFE8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FD71F0EC-89C4-4AA2-9F6A-468012997CA2}"/>
              </a:ext>
            </a:extLst>
          </p:cNvPr>
          <p:cNvSpPr/>
          <p:nvPr userDrawn="1"/>
        </p:nvSpPr>
        <p:spPr>
          <a:xfrm rot="5400000">
            <a:off x="12640458" y="2872425"/>
            <a:ext cx="360000" cy="360000"/>
          </a:xfrm>
          <a:prstGeom prst="rect">
            <a:avLst/>
          </a:prstGeom>
          <a:solidFill>
            <a:srgbClr val="0293C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49" name="Rechteck 148">
            <a:extLst>
              <a:ext uri="{FF2B5EF4-FFF2-40B4-BE49-F238E27FC236}">
                <a16:creationId xmlns:a16="http://schemas.microsoft.com/office/drawing/2014/main" id="{7DC54027-93B0-4982-A773-862A031D33D1}"/>
              </a:ext>
            </a:extLst>
          </p:cNvPr>
          <p:cNvSpPr/>
          <p:nvPr userDrawn="1"/>
        </p:nvSpPr>
        <p:spPr>
          <a:xfrm rot="5400000">
            <a:off x="12640458" y="5954545"/>
            <a:ext cx="360000" cy="360000"/>
          </a:xfrm>
          <a:prstGeom prst="rect">
            <a:avLst/>
          </a:prstGeom>
          <a:solidFill>
            <a:srgbClr val="820028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91668C8A-995B-414B-97BB-BF7228930D81}"/>
              </a:ext>
            </a:extLst>
          </p:cNvPr>
          <p:cNvSpPr/>
          <p:nvPr userDrawn="1"/>
        </p:nvSpPr>
        <p:spPr>
          <a:xfrm rot="5400000">
            <a:off x="11745190" y="1999849"/>
            <a:ext cx="360000" cy="360000"/>
          </a:xfrm>
          <a:prstGeom prst="rect">
            <a:avLst/>
          </a:prstGeom>
          <a:solidFill>
            <a:srgbClr val="E7E7E7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AT" sz="900" b="0" i="0" u="none" strike="noStrike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52" name="Rechteck 151">
            <a:extLst>
              <a:ext uri="{FF2B5EF4-FFF2-40B4-BE49-F238E27FC236}">
                <a16:creationId xmlns:a16="http://schemas.microsoft.com/office/drawing/2014/main" id="{A15769DE-E54F-49FF-8BC6-6CE38A91B675}"/>
              </a:ext>
            </a:extLst>
          </p:cNvPr>
          <p:cNvSpPr/>
          <p:nvPr userDrawn="1"/>
        </p:nvSpPr>
        <p:spPr>
          <a:xfrm rot="5400000">
            <a:off x="11297556" y="4629817"/>
            <a:ext cx="360000" cy="360000"/>
          </a:xfrm>
          <a:prstGeom prst="rect">
            <a:avLst/>
          </a:prstGeom>
          <a:solidFill>
            <a:srgbClr val="34404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0082FD0-7EFA-4BDC-979C-5FCBFE13F0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875" y="1763714"/>
            <a:ext cx="9561513" cy="50466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10982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</p:sldLayoutIdLst>
  <p:hf sldNum="0" hdr="0" ftr="0" dt="0"/>
  <p:txStyles>
    <p:titleStyle>
      <a:lvl1pPr algn="l" defTabSz="966246" rtl="0" eaLnBrk="1" latinLnBrk="0" hangingPunct="1">
        <a:lnSpc>
          <a:spcPct val="8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Trebuchet MS" panose="020B0603020202020204" pitchFamily="34" charset="0"/>
          <a:ea typeface="+mj-ea"/>
          <a:cs typeface="Arial" pitchFamily="34" charset="0"/>
        </a:defRPr>
      </a:lvl1pPr>
    </p:titleStyle>
    <p:bodyStyle>
      <a:lvl1pPr marL="252000" marR="0" indent="-252000" algn="l" defTabSz="966246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80000"/>
        <a:buFont typeface="Wingdings 3" panose="05040102010807070707" pitchFamily="18" charset="2"/>
        <a:buChar char="u"/>
        <a:tabLst/>
        <a:defRPr kumimoji="0" lang="de-DE" sz="1400" b="0" i="0" u="none" strike="noStrike" kern="1200" cap="none" spc="0" normalizeH="0" baseline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  <a:sym typeface="Arial"/>
        </a:defRPr>
      </a:lvl1pPr>
      <a:lvl2pPr marL="488950" indent="-252000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defRPr kumimoji="0" lang="de-DE" sz="1400" b="0" i="0" u="none" strike="noStrike" kern="1200" cap="none" spc="0" normalizeH="0" baseline="0" dirty="0" smtClean="0">
          <a:ln>
            <a:noFill/>
          </a:ln>
          <a:solidFill>
            <a:srgbClr val="404040"/>
          </a:solidFill>
          <a:effectLst/>
          <a:uLnTx/>
          <a:uFillTx/>
          <a:latin typeface="Trebuchet MS" panose="020B0603020202020204" pitchFamily="34" charset="0"/>
          <a:ea typeface="+mn-ea"/>
          <a:cs typeface="+mn-cs"/>
          <a:sym typeface="Arial"/>
        </a:defRPr>
      </a:lvl2pPr>
      <a:lvl3pPr marL="738000" indent="-252000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defRPr kumimoji="0" lang="de-DE" sz="1200" b="0" i="0" u="none" strike="noStrike" kern="1200" cap="none" spc="0" normalizeH="0" baseline="0" dirty="0" smtClean="0">
          <a:ln>
            <a:noFill/>
          </a:ln>
          <a:solidFill>
            <a:srgbClr val="404040"/>
          </a:solidFill>
          <a:effectLst/>
          <a:uLnTx/>
          <a:uFillTx/>
          <a:latin typeface="Trebuchet MS" panose="020B0603020202020204" pitchFamily="34" charset="0"/>
          <a:ea typeface="+mn-ea"/>
          <a:cs typeface="+mn-cs"/>
          <a:sym typeface="Arial"/>
        </a:defRPr>
      </a:lvl3pPr>
      <a:lvl4pPr marL="993600" indent="-252000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defRPr lang="de-DE" sz="900" b="0" i="0" kern="1200" dirty="0" smtClean="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4pPr>
      <a:lvl5pPr marL="1227600" indent="-252000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tabLst>
          <a:tab pos="714375" algn="l"/>
        </a:tabLst>
        <a:defRPr lang="de-AT" sz="900" b="0" kern="1200" dirty="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5pPr>
      <a:lvl6pPr marL="288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•"/>
        <a:defRPr sz="900" kern="1200" baseline="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6pPr>
      <a:lvl7pPr marL="432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sz="9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7pPr>
      <a:lvl8pPr marL="576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◦"/>
        <a:defRPr sz="9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8pPr>
      <a:lvl9pPr marL="720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Font typeface="Trebuchet MS" panose="020B0603020202020204" pitchFamily="34" charset="0"/>
        <a:buChar char="–"/>
        <a:defRPr sz="900" kern="1200" baseline="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9pPr>
    </p:bodyStyle>
    <p:otherStyle>
      <a:defPPr>
        <a:defRPr/>
      </a:defPPr>
      <a:lvl1pPr marL="0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3123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6246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9370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32493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15616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98739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81863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64986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1">
          <p15:clr>
            <a:srgbClr val="F26B43"/>
          </p15:clr>
        </p15:guide>
        <p15:guide id="2" orient="horz" pos="4196">
          <p15:clr>
            <a:srgbClr val="F26B43"/>
          </p15:clr>
        </p15:guide>
        <p15:guide id="3" pos="250">
          <p15:clr>
            <a:srgbClr val="F26B43"/>
          </p15:clr>
        </p15:guide>
        <p15:guide id="4" pos="6488">
          <p15:clr>
            <a:srgbClr val="F26B43"/>
          </p15:clr>
        </p15:guide>
        <p15:guide id="5" pos="3255">
          <p15:clr>
            <a:srgbClr val="F26B43"/>
          </p15:clr>
        </p15:guide>
        <p15:guide id="6" pos="3481">
          <p15:clr>
            <a:srgbClr val="F26B43"/>
          </p15:clr>
        </p15:guide>
        <p15:guide id="7" orient="horz" pos="885">
          <p15:clr>
            <a:srgbClr val="F26B43"/>
          </p15:clr>
        </p15:guide>
        <p15:guide id="8" orient="horz">
          <p15:clr>
            <a:srgbClr val="A4A3A4"/>
          </p15:clr>
        </p15:guide>
        <p15:guide id="9" orient="horz" pos="4763">
          <p15:clr>
            <a:srgbClr val="A4A3A4"/>
          </p15:clr>
        </p15:guide>
        <p15:guide id="10">
          <p15:clr>
            <a:srgbClr val="A4A3A4"/>
          </p15:clr>
        </p15:guide>
        <p15:guide id="11" pos="6736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AA87AB1-0195-4AFA-89AC-0AC561413B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653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AA87AB1-0195-4AFA-89AC-0AC561413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447DF83-A46D-4380-8E41-29857786792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ilename" hidden="1"/>
          <p:cNvSpPr txBox="1"/>
          <p:nvPr/>
        </p:nvSpPr>
        <p:spPr>
          <a:xfrm>
            <a:off x="522287" y="7398490"/>
            <a:ext cx="8151401" cy="16277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500" b="0" i="0" u="none" strike="noStrike" kern="1200" cap="none" spc="0" normalizeH="0" baseline="0" noProof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A:\05 Templates\Powerpoint\Angebotsvorlage\Liska Sabrina\Screenmaster_V03_SL_mit-BDOFarbcode.pptx</a:t>
            </a:r>
          </a:p>
        </p:txBody>
      </p:sp>
      <p:sp>
        <p:nvSpPr>
          <p:cNvPr id="69" name="Page No">
            <a:extLst>
              <a:ext uri="{FF2B5EF4-FFF2-40B4-BE49-F238E27FC236}">
                <a16:creationId xmlns:a16="http://schemas.microsoft.com/office/drawing/2014/main" id="{05D738F6-9135-4370-8C3C-155BBA799C5C}"/>
              </a:ext>
            </a:extLst>
          </p:cNvPr>
          <p:cNvSpPr txBox="1">
            <a:spLocks/>
          </p:cNvSpPr>
          <p:nvPr userDrawn="1"/>
        </p:nvSpPr>
        <p:spPr>
          <a:xfrm>
            <a:off x="6679589" y="5404888"/>
            <a:ext cx="358775" cy="13983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/>
            </a:defPPr>
            <a:lvl1pPr marL="0" algn="ctr" defTabSz="966246" rtl="0" eaLnBrk="1" latinLnBrk="0" hangingPunct="1">
              <a:defRPr sz="800" b="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Aharoni" pitchFamily="2" charset="-79"/>
              </a:defRPr>
            </a:lvl1pPr>
            <a:lvl2pPr marL="483123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246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9370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2493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5616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98739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1863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4986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800" b="0" i="0" u="none" strike="noStrike" kern="1200" cap="none" spc="0" normalizeH="0" baseline="0" noProof="0" dirty="0">
              <a:ln>
                <a:noFill/>
              </a:ln>
              <a:solidFill>
                <a:srgbClr val="ED1A3B"/>
              </a:solidFill>
              <a:effectLst/>
              <a:uLnTx/>
              <a:uFillTx/>
              <a:latin typeface="Trebuchet MS"/>
              <a:ea typeface="+mn-ea"/>
              <a:cs typeface="Aharoni" pitchFamily="2" charset="-79"/>
            </a:endParaRPr>
          </a:p>
        </p:txBody>
      </p:sp>
      <p:sp>
        <p:nvSpPr>
          <p:cNvPr id="50" name="Page No">
            <a:extLst>
              <a:ext uri="{FF2B5EF4-FFF2-40B4-BE49-F238E27FC236}">
                <a16:creationId xmlns:a16="http://schemas.microsoft.com/office/drawing/2014/main" id="{D0B98924-D818-47BF-817A-E124D0B96C71}"/>
              </a:ext>
            </a:extLst>
          </p:cNvPr>
          <p:cNvSpPr txBox="1">
            <a:spLocks/>
          </p:cNvSpPr>
          <p:nvPr userDrawn="1"/>
        </p:nvSpPr>
        <p:spPr>
          <a:xfrm>
            <a:off x="5165846" y="7226414"/>
            <a:ext cx="360242" cy="99952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800" b="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Aharoni" pitchFamily="2" charset="-79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800" b="0" i="0" u="none" strike="noStrike" kern="1200" cap="none" spc="0" normalizeH="0" baseline="0" noProof="0" dirty="0">
              <a:ln>
                <a:noFill/>
              </a:ln>
              <a:solidFill>
                <a:srgbClr val="ED1A3B"/>
              </a:solidFill>
              <a:effectLst/>
              <a:uLnTx/>
              <a:uFillTx/>
              <a:latin typeface="Trebuchet MS"/>
              <a:ea typeface="+mn-ea"/>
              <a:cs typeface="Aharoni" pitchFamily="2" charset="-79"/>
            </a:endParaRP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536AD807-9B92-4AAF-B622-3756BCCA2507}"/>
              </a:ext>
            </a:extLst>
          </p:cNvPr>
          <p:cNvSpPr/>
          <p:nvPr userDrawn="1"/>
        </p:nvSpPr>
        <p:spPr>
          <a:xfrm rot="5400000">
            <a:off x="10842596" y="2872425"/>
            <a:ext cx="360000" cy="360000"/>
          </a:xfrm>
          <a:prstGeom prst="rect">
            <a:avLst/>
          </a:prstGeom>
          <a:solidFill>
            <a:srgbClr val="F1536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06AA3144-C0E4-4DC5-8877-59F63DB46612}"/>
              </a:ext>
            </a:extLst>
          </p:cNvPr>
          <p:cNvSpPr/>
          <p:nvPr userDrawn="1"/>
        </p:nvSpPr>
        <p:spPr>
          <a:xfrm rot="5400000">
            <a:off x="10842596" y="2433077"/>
            <a:ext cx="360000" cy="360000"/>
          </a:xfrm>
          <a:prstGeom prst="rect">
            <a:avLst/>
          </a:prstGeom>
          <a:solidFill>
            <a:srgbClr val="F68C9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1D58D59-072E-45B1-8158-672C28844AD9}"/>
              </a:ext>
            </a:extLst>
          </p:cNvPr>
          <p:cNvSpPr/>
          <p:nvPr userDrawn="1"/>
        </p:nvSpPr>
        <p:spPr>
          <a:xfrm rot="5400000">
            <a:off x="10842596" y="1993169"/>
            <a:ext cx="360000" cy="360000"/>
          </a:xfrm>
          <a:prstGeom prst="rect">
            <a:avLst/>
          </a:prstGeom>
          <a:solidFill>
            <a:srgbClr val="FAC5C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51C5466F-AD52-4E9C-95F0-03A0F55D05BB}"/>
              </a:ext>
            </a:extLst>
          </p:cNvPr>
          <p:cNvSpPr/>
          <p:nvPr userDrawn="1"/>
        </p:nvSpPr>
        <p:spPr>
          <a:xfrm rot="5400000">
            <a:off x="10842596" y="4629817"/>
            <a:ext cx="360000" cy="360000"/>
          </a:xfrm>
          <a:prstGeom prst="rect">
            <a:avLst/>
          </a:prstGeom>
          <a:solidFill>
            <a:srgbClr val="A00C2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9F7D9B87-8E88-4657-B745-98E7512F2D8C}"/>
              </a:ext>
            </a:extLst>
          </p:cNvPr>
          <p:cNvSpPr/>
          <p:nvPr userDrawn="1"/>
        </p:nvSpPr>
        <p:spPr>
          <a:xfrm rot="5400000">
            <a:off x="10842596" y="5069165"/>
            <a:ext cx="360000" cy="360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247A689E-851B-4995-BFD5-39EAA527E4F6}"/>
              </a:ext>
            </a:extLst>
          </p:cNvPr>
          <p:cNvSpPr/>
          <p:nvPr userDrawn="1"/>
        </p:nvSpPr>
        <p:spPr>
          <a:xfrm rot="5400000">
            <a:off x="10842596" y="4190469"/>
            <a:ext cx="360000" cy="360000"/>
          </a:xfrm>
          <a:prstGeom prst="rect">
            <a:avLst/>
          </a:prstGeom>
          <a:solidFill>
            <a:srgbClr val="C6102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A1BBCE19-D76E-4311-B2E2-D575881AE995}"/>
              </a:ext>
            </a:extLst>
          </p:cNvPr>
          <p:cNvSpPr/>
          <p:nvPr userDrawn="1"/>
        </p:nvSpPr>
        <p:spPr>
          <a:xfrm rot="5400000">
            <a:off x="10842596" y="3311773"/>
            <a:ext cx="360000" cy="360000"/>
          </a:xfrm>
          <a:prstGeom prst="rect">
            <a:avLst/>
          </a:prstGeom>
          <a:solidFill>
            <a:srgbClr val="ED1A3B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BD05960-AA71-4FBC-99BE-BC7DB6129135}"/>
              </a:ext>
            </a:extLst>
          </p:cNvPr>
          <p:cNvSpPr/>
          <p:nvPr userDrawn="1"/>
        </p:nvSpPr>
        <p:spPr>
          <a:xfrm rot="5400000">
            <a:off x="10842596" y="5505015"/>
            <a:ext cx="360000" cy="360000"/>
          </a:xfrm>
          <a:prstGeom prst="rect">
            <a:avLst/>
          </a:prstGeom>
          <a:solidFill>
            <a:srgbClr val="67091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C77FC766-DC47-4FD2-B369-903D90E40E3A}"/>
              </a:ext>
            </a:extLst>
          </p:cNvPr>
          <p:cNvSpPr/>
          <p:nvPr userDrawn="1"/>
        </p:nvSpPr>
        <p:spPr>
          <a:xfrm rot="5400000">
            <a:off x="11297556" y="2873179"/>
            <a:ext cx="360000" cy="360000"/>
          </a:xfrm>
          <a:prstGeom prst="rect">
            <a:avLst/>
          </a:prstGeom>
          <a:solidFill>
            <a:srgbClr val="B2BD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98BBF4E-04B7-43F7-8C9F-4BE6B0285115}"/>
              </a:ext>
            </a:extLst>
          </p:cNvPr>
          <p:cNvSpPr/>
          <p:nvPr userDrawn="1"/>
        </p:nvSpPr>
        <p:spPr>
          <a:xfrm rot="5400000">
            <a:off x="11297556" y="2433968"/>
            <a:ext cx="360000" cy="360000"/>
          </a:xfrm>
          <a:prstGeom prst="rect">
            <a:avLst/>
          </a:prstGeom>
          <a:solidFill>
            <a:srgbClr val="C1CBD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B732E29-D5D8-4D0B-8FDE-BBBE9D728353}"/>
              </a:ext>
            </a:extLst>
          </p:cNvPr>
          <p:cNvSpPr/>
          <p:nvPr userDrawn="1"/>
        </p:nvSpPr>
        <p:spPr>
          <a:xfrm rot="5400000">
            <a:off x="11297556" y="4190812"/>
            <a:ext cx="360000" cy="360000"/>
          </a:xfrm>
          <a:prstGeom prst="rect">
            <a:avLst/>
          </a:prstGeom>
          <a:solidFill>
            <a:srgbClr val="4B5D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28511985-6F88-4AD6-AED7-FC9C672E0F3A}"/>
              </a:ext>
            </a:extLst>
          </p:cNvPr>
          <p:cNvSpPr/>
          <p:nvPr userDrawn="1"/>
        </p:nvSpPr>
        <p:spPr>
          <a:xfrm rot="5400000">
            <a:off x="11297556" y="4629817"/>
            <a:ext cx="360000" cy="360000"/>
          </a:xfrm>
          <a:prstGeom prst="rect">
            <a:avLst/>
          </a:prstGeom>
          <a:solidFill>
            <a:srgbClr val="34404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C21133F-750D-475F-A6D7-581535CBF642}"/>
              </a:ext>
            </a:extLst>
          </p:cNvPr>
          <p:cNvSpPr/>
          <p:nvPr userDrawn="1"/>
        </p:nvSpPr>
        <p:spPr>
          <a:xfrm rot="5400000">
            <a:off x="11297556" y="3751601"/>
            <a:ext cx="360000" cy="360000"/>
          </a:xfrm>
          <a:prstGeom prst="rect">
            <a:avLst/>
          </a:prstGeom>
          <a:solidFill>
            <a:srgbClr val="657C91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0E7A66D-0A52-4EB5-9B85-1565B0847070}"/>
              </a:ext>
            </a:extLst>
          </p:cNvPr>
          <p:cNvSpPr/>
          <p:nvPr userDrawn="1"/>
        </p:nvSpPr>
        <p:spPr>
          <a:xfrm rot="5400000">
            <a:off x="11297556" y="3312390"/>
            <a:ext cx="360000" cy="360000"/>
          </a:xfrm>
          <a:prstGeom prst="rect">
            <a:avLst/>
          </a:prstGeom>
          <a:solidFill>
            <a:srgbClr val="8B9C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401DA6AB-E7AF-4E24-9167-0878DC5E1CEA}"/>
              </a:ext>
            </a:extLst>
          </p:cNvPr>
          <p:cNvSpPr/>
          <p:nvPr userDrawn="1"/>
        </p:nvSpPr>
        <p:spPr>
          <a:xfrm rot="5400000">
            <a:off x="10842596" y="3751121"/>
            <a:ext cx="360000" cy="360000"/>
          </a:xfrm>
          <a:prstGeom prst="rect">
            <a:avLst/>
          </a:prstGeom>
          <a:solidFill>
            <a:srgbClr val="D111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3C68A71F-2262-4360-BD8F-06F6FC4B3EA0}"/>
              </a:ext>
            </a:extLst>
          </p:cNvPr>
          <p:cNvSpPr/>
          <p:nvPr userDrawn="1"/>
        </p:nvSpPr>
        <p:spPr>
          <a:xfrm rot="5400000">
            <a:off x="11297556" y="1994757"/>
            <a:ext cx="360000" cy="360000"/>
          </a:xfrm>
          <a:prstGeom prst="rect">
            <a:avLst/>
          </a:prstGeom>
          <a:solidFill>
            <a:srgbClr val="D8DEE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496E703-4217-4F32-ABAD-5E41F0244569}"/>
              </a:ext>
            </a:extLst>
          </p:cNvPr>
          <p:cNvSpPr/>
          <p:nvPr userDrawn="1"/>
        </p:nvSpPr>
        <p:spPr>
          <a:xfrm rot="5400000">
            <a:off x="11297556" y="1555739"/>
            <a:ext cx="360000" cy="360000"/>
          </a:xfrm>
          <a:prstGeom prst="rect">
            <a:avLst/>
          </a:prstGeom>
          <a:solidFill>
            <a:srgbClr val="E9EC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DCA0308-8248-473F-B052-3DBF159EDD84}"/>
              </a:ext>
            </a:extLst>
          </p:cNvPr>
          <p:cNvSpPr/>
          <p:nvPr userDrawn="1"/>
        </p:nvSpPr>
        <p:spPr>
          <a:xfrm rot="5400000">
            <a:off x="11745190" y="4190469"/>
            <a:ext cx="360000" cy="360000"/>
          </a:xfrm>
          <a:prstGeom prst="rect">
            <a:avLst/>
          </a:prstGeom>
          <a:solidFill>
            <a:srgbClr val="51515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46A6BA0A-DA1A-442F-8BF2-9E2586BEC287}"/>
              </a:ext>
            </a:extLst>
          </p:cNvPr>
          <p:cNvSpPr/>
          <p:nvPr userDrawn="1"/>
        </p:nvSpPr>
        <p:spPr>
          <a:xfrm rot="5400000">
            <a:off x="11745190" y="3751121"/>
            <a:ext cx="360000" cy="360000"/>
          </a:xfrm>
          <a:prstGeom prst="rect">
            <a:avLst/>
          </a:prstGeom>
          <a:solidFill>
            <a:srgbClr val="6D6D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8C69A57-319B-44B2-B111-3066CF7AC314}"/>
              </a:ext>
            </a:extLst>
          </p:cNvPr>
          <p:cNvSpPr/>
          <p:nvPr userDrawn="1"/>
        </p:nvSpPr>
        <p:spPr>
          <a:xfrm rot="5400000">
            <a:off x="11297556" y="1116528"/>
            <a:ext cx="360000" cy="360000"/>
          </a:xfrm>
          <a:prstGeom prst="rect">
            <a:avLst/>
          </a:prstGeom>
          <a:solidFill>
            <a:srgbClr val="F1F3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DA7B6FD-4896-49B5-AE94-95825A32EB50}"/>
              </a:ext>
            </a:extLst>
          </p:cNvPr>
          <p:cNvSpPr/>
          <p:nvPr userDrawn="1"/>
        </p:nvSpPr>
        <p:spPr>
          <a:xfrm rot="5400000">
            <a:off x="11745190" y="4633354"/>
            <a:ext cx="360000" cy="360000"/>
          </a:xfrm>
          <a:prstGeom prst="rect">
            <a:avLst/>
          </a:prstGeom>
          <a:solidFill>
            <a:srgbClr val="404040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9FA4E0D-4CDA-429B-A380-4739E51C41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412" y="1763713"/>
            <a:ext cx="9893251" cy="48898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64" name="Titelplatzhalter 2">
            <a:extLst>
              <a:ext uri="{FF2B5EF4-FFF2-40B4-BE49-F238E27FC236}">
                <a16:creationId xmlns:a16="http://schemas.microsoft.com/office/drawing/2014/main" id="{ABA0C236-7205-40B4-A4FD-36648B127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856" y="0"/>
            <a:ext cx="9892905" cy="97154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D88A98C-BD35-49C8-AF82-ACE6CB69C573}"/>
              </a:ext>
            </a:extLst>
          </p:cNvPr>
          <p:cNvSpPr/>
          <p:nvPr userDrawn="1"/>
        </p:nvSpPr>
        <p:spPr>
          <a:xfrm rot="5400000">
            <a:off x="12191885" y="3313930"/>
            <a:ext cx="360000" cy="360000"/>
          </a:xfrm>
          <a:prstGeom prst="rect">
            <a:avLst/>
          </a:prstGeom>
          <a:solidFill>
            <a:srgbClr val="2CBEB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9563DA5-F361-4820-8562-0B0EA19E27AC}"/>
              </a:ext>
            </a:extLst>
          </p:cNvPr>
          <p:cNvSpPr/>
          <p:nvPr userDrawn="1"/>
        </p:nvSpPr>
        <p:spPr>
          <a:xfrm rot="5400000">
            <a:off x="12640458" y="3316087"/>
            <a:ext cx="360000" cy="360000"/>
          </a:xfrm>
          <a:prstGeom prst="rect">
            <a:avLst/>
          </a:prstGeom>
          <a:solidFill>
            <a:srgbClr val="E3945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0931CBA4-180B-42B3-BF5E-A6B2F50F5D1D}"/>
              </a:ext>
            </a:extLst>
          </p:cNvPr>
          <p:cNvSpPr/>
          <p:nvPr userDrawn="1"/>
        </p:nvSpPr>
        <p:spPr>
          <a:xfrm rot="5400000">
            <a:off x="12191885" y="3751121"/>
            <a:ext cx="360000" cy="360000"/>
          </a:xfrm>
          <a:prstGeom prst="rect">
            <a:avLst/>
          </a:prstGeom>
          <a:solidFill>
            <a:srgbClr val="26A29C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A86CB4DB-D7DD-4754-82E2-B98CAABAA8D5}"/>
              </a:ext>
            </a:extLst>
          </p:cNvPr>
          <p:cNvSpPr/>
          <p:nvPr userDrawn="1"/>
        </p:nvSpPr>
        <p:spPr>
          <a:xfrm rot="5400000">
            <a:off x="12640458" y="3748120"/>
            <a:ext cx="360000" cy="360000"/>
          </a:xfrm>
          <a:prstGeom prst="rect">
            <a:avLst/>
          </a:prstGeom>
          <a:solidFill>
            <a:srgbClr val="DF8639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E2A5E609-6AF9-4025-A04C-701F6ADB2990}"/>
              </a:ext>
            </a:extLst>
          </p:cNvPr>
          <p:cNvSpPr/>
          <p:nvPr userDrawn="1"/>
        </p:nvSpPr>
        <p:spPr>
          <a:xfrm rot="5400000">
            <a:off x="12191885" y="4194006"/>
            <a:ext cx="360000" cy="360000"/>
          </a:xfrm>
          <a:prstGeom prst="rect">
            <a:avLst/>
          </a:prstGeom>
          <a:solidFill>
            <a:srgbClr val="218F8B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5952E643-29D5-4FD3-A970-2B609DEC542A}"/>
              </a:ext>
            </a:extLst>
          </p:cNvPr>
          <p:cNvSpPr/>
          <p:nvPr userDrawn="1"/>
        </p:nvSpPr>
        <p:spPr>
          <a:xfrm rot="5400000">
            <a:off x="12640458" y="4194006"/>
            <a:ext cx="360000" cy="360000"/>
          </a:xfrm>
          <a:prstGeom prst="rect">
            <a:avLst/>
          </a:prstGeom>
          <a:solidFill>
            <a:srgbClr val="CA6D2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695356D7-A6C4-4B96-98D1-AE163518677C}"/>
              </a:ext>
            </a:extLst>
          </p:cNvPr>
          <p:cNvSpPr/>
          <p:nvPr userDrawn="1"/>
        </p:nvSpPr>
        <p:spPr>
          <a:xfrm rot="5400000">
            <a:off x="11745190" y="3311773"/>
            <a:ext cx="360000" cy="360000"/>
          </a:xfrm>
          <a:prstGeom prst="rect">
            <a:avLst/>
          </a:prstGeom>
          <a:solidFill>
            <a:srgbClr val="8C8C8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EFFF53B1-2761-4DCB-A75B-A6B4EC18AFA9}"/>
              </a:ext>
            </a:extLst>
          </p:cNvPr>
          <p:cNvSpPr/>
          <p:nvPr userDrawn="1"/>
        </p:nvSpPr>
        <p:spPr>
          <a:xfrm rot="5400000">
            <a:off x="11745190" y="2872425"/>
            <a:ext cx="360000" cy="360000"/>
          </a:xfrm>
          <a:prstGeom prst="rect">
            <a:avLst/>
          </a:prstGeom>
          <a:solidFill>
            <a:srgbClr val="AEAEA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524D14BC-894E-45B6-AE3F-33A7F2B86DEE}"/>
              </a:ext>
            </a:extLst>
          </p:cNvPr>
          <p:cNvSpPr/>
          <p:nvPr userDrawn="1"/>
        </p:nvSpPr>
        <p:spPr>
          <a:xfrm rot="5400000">
            <a:off x="11745190" y="2434105"/>
            <a:ext cx="360000" cy="360000"/>
          </a:xfrm>
          <a:prstGeom prst="rect">
            <a:avLst/>
          </a:prstGeom>
          <a:solidFill>
            <a:srgbClr val="CBC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B4C6336-C571-4E0D-A27E-ACDF03D01B6E}"/>
              </a:ext>
            </a:extLst>
          </p:cNvPr>
          <p:cNvSpPr/>
          <p:nvPr userDrawn="1"/>
        </p:nvSpPr>
        <p:spPr>
          <a:xfrm rot="5400000">
            <a:off x="12191885" y="4629817"/>
            <a:ext cx="360000" cy="360000"/>
          </a:xfrm>
          <a:prstGeom prst="rect">
            <a:avLst/>
          </a:prstGeom>
          <a:solidFill>
            <a:srgbClr val="1971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70A81E1F-141A-46B3-964D-C3A37AB1C253}"/>
              </a:ext>
            </a:extLst>
          </p:cNvPr>
          <p:cNvSpPr/>
          <p:nvPr userDrawn="1"/>
        </p:nvSpPr>
        <p:spPr>
          <a:xfrm rot="5400000">
            <a:off x="12191885" y="5069165"/>
            <a:ext cx="360000" cy="360000"/>
          </a:xfrm>
          <a:prstGeom prst="rect">
            <a:avLst/>
          </a:prstGeom>
          <a:solidFill>
            <a:srgbClr val="104C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F09838C-8ADF-4A1C-8F81-0FFB2AC497BD}"/>
              </a:ext>
            </a:extLst>
          </p:cNvPr>
          <p:cNvSpPr/>
          <p:nvPr userDrawn="1"/>
        </p:nvSpPr>
        <p:spPr>
          <a:xfrm rot="5400000">
            <a:off x="11745211" y="5073533"/>
            <a:ext cx="360000" cy="360000"/>
          </a:xfrm>
          <a:prstGeom prst="rect">
            <a:avLst/>
          </a:prstGeom>
          <a:solidFill>
            <a:srgbClr val="2A2A2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124855F4-A21A-4078-9A3B-41E2463A5B69}"/>
              </a:ext>
            </a:extLst>
          </p:cNvPr>
          <p:cNvSpPr/>
          <p:nvPr userDrawn="1"/>
        </p:nvSpPr>
        <p:spPr>
          <a:xfrm rot="5400000">
            <a:off x="12191885" y="1993729"/>
            <a:ext cx="360000" cy="360000"/>
          </a:xfrm>
          <a:prstGeom prst="rect">
            <a:avLst/>
          </a:prstGeom>
          <a:solidFill>
            <a:srgbClr val="9FE9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1DA73982-A2DC-4412-AE16-764D6192BC91}"/>
              </a:ext>
            </a:extLst>
          </p:cNvPr>
          <p:cNvSpPr/>
          <p:nvPr userDrawn="1"/>
        </p:nvSpPr>
        <p:spPr>
          <a:xfrm rot="5400000">
            <a:off x="12191885" y="2433077"/>
            <a:ext cx="360000" cy="360000"/>
          </a:xfrm>
          <a:prstGeom prst="rect">
            <a:avLst/>
          </a:prstGeom>
          <a:solidFill>
            <a:srgbClr val="6DDD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50F62872-3E0A-4AFE-AF1B-C5C0BBB20878}"/>
              </a:ext>
            </a:extLst>
          </p:cNvPr>
          <p:cNvSpPr/>
          <p:nvPr userDrawn="1"/>
        </p:nvSpPr>
        <p:spPr>
          <a:xfrm rot="5400000">
            <a:off x="12191885" y="2872425"/>
            <a:ext cx="360000" cy="360000"/>
          </a:xfrm>
          <a:prstGeom prst="rect">
            <a:avLst/>
          </a:prstGeom>
          <a:solidFill>
            <a:srgbClr val="34D0C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F394B9FE-99FA-48C2-B534-DF33E6AF9192}"/>
              </a:ext>
            </a:extLst>
          </p:cNvPr>
          <p:cNvSpPr/>
          <p:nvPr userDrawn="1"/>
        </p:nvSpPr>
        <p:spPr>
          <a:xfrm rot="5400000">
            <a:off x="12640458" y="5505015"/>
            <a:ext cx="360000" cy="360000"/>
          </a:xfrm>
          <a:prstGeom prst="rect">
            <a:avLst/>
          </a:prstGeom>
          <a:solidFill>
            <a:srgbClr val="98002E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04A44E9E-7DC2-45E6-86B5-129B78E02323}"/>
              </a:ext>
            </a:extLst>
          </p:cNvPr>
          <p:cNvSpPr/>
          <p:nvPr userDrawn="1"/>
        </p:nvSpPr>
        <p:spPr>
          <a:xfrm rot="5400000">
            <a:off x="12640458" y="2439791"/>
            <a:ext cx="360000" cy="360000"/>
          </a:xfrm>
          <a:prstGeom prst="rect">
            <a:avLst/>
          </a:prstGeom>
          <a:solidFill>
            <a:srgbClr val="02A5E2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BB58118-45AB-4143-8B03-E4D784D89528}"/>
              </a:ext>
            </a:extLst>
          </p:cNvPr>
          <p:cNvSpPr/>
          <p:nvPr userDrawn="1"/>
        </p:nvSpPr>
        <p:spPr>
          <a:xfrm rot="5400000">
            <a:off x="12640458" y="5069165"/>
            <a:ext cx="360000" cy="360000"/>
          </a:xfrm>
          <a:prstGeom prst="rect">
            <a:avLst/>
          </a:prstGeom>
          <a:solidFill>
            <a:srgbClr val="B13F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C3CC60E-CC46-4500-8B76-3CECAA421457}"/>
              </a:ext>
            </a:extLst>
          </p:cNvPr>
          <p:cNvSpPr/>
          <p:nvPr userDrawn="1"/>
        </p:nvSpPr>
        <p:spPr>
          <a:xfrm rot="5400000">
            <a:off x="12640458" y="2000443"/>
            <a:ext cx="360000" cy="360000"/>
          </a:xfrm>
          <a:prstGeom prst="rect">
            <a:avLst/>
          </a:prstGeom>
          <a:solidFill>
            <a:srgbClr val="41BB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06F5669-54F6-4B48-BB18-CE9CEEFE5123}"/>
              </a:ext>
            </a:extLst>
          </p:cNvPr>
          <p:cNvSpPr/>
          <p:nvPr userDrawn="1"/>
        </p:nvSpPr>
        <p:spPr>
          <a:xfrm rot="5400000">
            <a:off x="12640458" y="4629817"/>
            <a:ext cx="360000" cy="360000"/>
          </a:xfrm>
          <a:prstGeom prst="rect">
            <a:avLst/>
          </a:prstGeom>
          <a:solidFill>
            <a:srgbClr val="CB7F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C4770B15-9FFF-420F-A40E-73C16B61839D}"/>
              </a:ext>
            </a:extLst>
          </p:cNvPr>
          <p:cNvSpPr/>
          <p:nvPr userDrawn="1"/>
        </p:nvSpPr>
        <p:spPr>
          <a:xfrm rot="5400000">
            <a:off x="12640458" y="1568410"/>
            <a:ext cx="360000" cy="360000"/>
          </a:xfrm>
          <a:prstGeom prst="rect">
            <a:avLst/>
          </a:prstGeom>
          <a:solidFill>
            <a:srgbClr val="80D2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E311955F-7367-4F69-AC1F-52BD1447AE72}"/>
              </a:ext>
            </a:extLst>
          </p:cNvPr>
          <p:cNvSpPr/>
          <p:nvPr userDrawn="1"/>
        </p:nvSpPr>
        <p:spPr>
          <a:xfrm rot="5400000">
            <a:off x="12640458" y="1127401"/>
            <a:ext cx="360000" cy="360000"/>
          </a:xfrm>
          <a:prstGeom prst="rect">
            <a:avLst/>
          </a:prstGeom>
          <a:solidFill>
            <a:srgbClr val="BFE8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7CCC98FB-ABBC-4E50-A1FE-6376ACABBEE9}"/>
              </a:ext>
            </a:extLst>
          </p:cNvPr>
          <p:cNvSpPr/>
          <p:nvPr userDrawn="1"/>
        </p:nvSpPr>
        <p:spPr>
          <a:xfrm rot="5400000">
            <a:off x="12640458" y="2872425"/>
            <a:ext cx="360000" cy="360000"/>
          </a:xfrm>
          <a:prstGeom prst="rect">
            <a:avLst/>
          </a:prstGeom>
          <a:solidFill>
            <a:srgbClr val="0293C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C400739-8552-4CF1-9A8D-17FF4186311B}"/>
              </a:ext>
            </a:extLst>
          </p:cNvPr>
          <p:cNvSpPr/>
          <p:nvPr userDrawn="1"/>
        </p:nvSpPr>
        <p:spPr>
          <a:xfrm rot="5400000">
            <a:off x="12640458" y="5954545"/>
            <a:ext cx="360000" cy="360000"/>
          </a:xfrm>
          <a:prstGeom prst="rect">
            <a:avLst/>
          </a:prstGeom>
          <a:solidFill>
            <a:srgbClr val="820028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93DBED87-B1FF-4B27-BF96-F860C122C093}"/>
              </a:ext>
            </a:extLst>
          </p:cNvPr>
          <p:cNvSpPr/>
          <p:nvPr userDrawn="1"/>
        </p:nvSpPr>
        <p:spPr>
          <a:xfrm rot="5400000">
            <a:off x="11745190" y="1999849"/>
            <a:ext cx="360000" cy="360000"/>
          </a:xfrm>
          <a:prstGeom prst="rect">
            <a:avLst/>
          </a:prstGeom>
          <a:solidFill>
            <a:srgbClr val="E7E7E7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9896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</p:sldLayoutIdLst>
  <p:hf sldNum="0" hdr="0" ftr="0" dt="0"/>
  <p:txStyles>
    <p:titleStyle>
      <a:lvl1pPr algn="l" defTabSz="966246" rtl="0" eaLnBrk="1" latinLnBrk="0" hangingPunct="1">
        <a:lnSpc>
          <a:spcPts val="2500"/>
        </a:lnSpc>
        <a:spcBef>
          <a:spcPct val="0"/>
        </a:spcBef>
        <a:buNone/>
        <a:defRPr sz="2400" b="1" kern="1200" cap="all" baseline="0">
          <a:solidFill>
            <a:srgbClr val="404040"/>
          </a:solidFill>
          <a:latin typeface="+mn-lt"/>
          <a:ea typeface="+mj-ea"/>
          <a:cs typeface="Arial" pitchFamily="34" charset="0"/>
        </a:defRPr>
      </a:lvl1pPr>
    </p:titleStyle>
    <p:bodyStyle>
      <a:lvl1pPr marL="252000" marR="0" indent="-252000" algn="l" defTabSz="1008044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80000"/>
        <a:buFont typeface="Wingdings 3" panose="05040102010807070707" pitchFamily="18" charset="2"/>
        <a:buChar char="u"/>
        <a:tabLst/>
        <a:defRPr kumimoji="0" lang="de-DE" sz="1400" b="0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  <a:sym typeface="Arial"/>
        </a:defRPr>
      </a:lvl1pPr>
      <a:lvl2pPr marL="488950" indent="-250825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defRPr kumimoji="0" lang="de-DE" sz="1400" b="0" i="0" u="none" strike="noStrike" kern="1200" cap="none" spc="0" normalizeH="0" baseline="0" dirty="0">
          <a:ln>
            <a:noFill/>
          </a:ln>
          <a:solidFill>
            <a:srgbClr val="404040"/>
          </a:solidFill>
          <a:effectLst/>
          <a:uLnTx/>
          <a:uFillTx/>
          <a:latin typeface="Trebuchet MS" panose="020B0603020202020204" pitchFamily="34" charset="0"/>
          <a:ea typeface="+mn-ea"/>
          <a:cs typeface="+mn-cs"/>
          <a:sym typeface="Arial"/>
        </a:defRPr>
      </a:lvl2pPr>
      <a:lvl3pPr marL="738188" indent="-250825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defRPr kumimoji="0" lang="de-DE" sz="1200" b="0" i="0" u="none" strike="noStrike" kern="1200" cap="none" spc="0" normalizeH="0" baseline="0" dirty="0">
          <a:ln>
            <a:noFill/>
          </a:ln>
          <a:solidFill>
            <a:srgbClr val="404040"/>
          </a:solidFill>
          <a:effectLst/>
          <a:uLnTx/>
          <a:uFillTx/>
          <a:latin typeface="Trebuchet MS" panose="020B0603020202020204" pitchFamily="34" charset="0"/>
          <a:ea typeface="+mn-ea"/>
          <a:cs typeface="+mn-cs"/>
          <a:sym typeface="Arial"/>
        </a:defRPr>
      </a:lvl3pPr>
      <a:lvl4pPr marL="992188" indent="-250825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defRPr sz="900" b="0" i="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4pPr>
      <a:lvl5pPr marL="1227138" indent="-241300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tabLst>
          <a:tab pos="759913" algn="l"/>
        </a:tabLst>
        <a:defRPr sz="900" b="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5pPr>
      <a:lvl6pPr marL="288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•"/>
        <a:defRPr sz="900" kern="1200" baseline="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6pPr>
      <a:lvl7pPr marL="432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sz="9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7pPr>
      <a:lvl8pPr marL="576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◦"/>
        <a:defRPr sz="9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8pPr>
      <a:lvl9pPr marL="720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Font typeface="Trebuchet MS" panose="020B0603020202020204" pitchFamily="34" charset="0"/>
        <a:buChar char="–"/>
        <a:defRPr sz="900" kern="1200" baseline="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9pPr>
    </p:bodyStyle>
    <p:otherStyle>
      <a:defPPr>
        <a:defRPr/>
      </a:defPPr>
      <a:lvl1pPr marL="0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3123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6246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9370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32493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15616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98739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81863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64986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1">
          <p15:clr>
            <a:srgbClr val="F26B43"/>
          </p15:clr>
        </p15:guide>
        <p15:guide id="2" orient="horz" pos="4196">
          <p15:clr>
            <a:srgbClr val="F26B43"/>
          </p15:clr>
        </p15:guide>
        <p15:guide id="3" pos="250">
          <p15:clr>
            <a:srgbClr val="F26B43"/>
          </p15:clr>
        </p15:guide>
        <p15:guide id="4" pos="6488">
          <p15:clr>
            <a:srgbClr val="F26B43"/>
          </p15:clr>
        </p15:guide>
        <p15:guide id="5" pos="3252">
          <p15:clr>
            <a:srgbClr val="F26B43"/>
          </p15:clr>
        </p15:guide>
        <p15:guide id="7" orient="horz" pos="885">
          <p15:clr>
            <a:srgbClr val="F26B43"/>
          </p15:clr>
        </p15:guide>
        <p15:guide id="8" orient="horz">
          <p15:clr>
            <a:srgbClr val="A4A3A4"/>
          </p15:clr>
        </p15:guide>
        <p15:guide id="9" orient="horz" pos="4763">
          <p15:clr>
            <a:srgbClr val="A4A3A4"/>
          </p15:clr>
        </p15:guide>
        <p15:guide id="11" pos="6736">
          <p15:clr>
            <a:srgbClr val="A4A3A4"/>
          </p15:clr>
        </p15:guide>
        <p15:guide id="12" pos="3368">
          <p15:clr>
            <a:srgbClr val="F26B43"/>
          </p15:clr>
        </p15:guide>
        <p15:guide id="13" pos="348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AA87AB1-0195-4AFA-89AC-0AC561413B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41743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AA87AB1-0195-4AFA-89AC-0AC561413B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447DF83-A46D-4380-8E41-29857786792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Filename" hidden="1"/>
          <p:cNvSpPr txBox="1"/>
          <p:nvPr/>
        </p:nvSpPr>
        <p:spPr>
          <a:xfrm>
            <a:off x="522287" y="7398490"/>
            <a:ext cx="8151401" cy="16277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500" b="0" i="0" u="none" strike="noStrike" kern="1200" cap="none" spc="0" normalizeH="0" baseline="0" noProof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A:\05 Templates\Powerpoint\Angebotsvorlage\Liska Sabrina\Screenmaster_V03_SL_mit-BDOFarbcode.pptx</a:t>
            </a:r>
          </a:p>
        </p:txBody>
      </p:sp>
      <p:sp>
        <p:nvSpPr>
          <p:cNvPr id="69" name="Page No">
            <a:extLst>
              <a:ext uri="{FF2B5EF4-FFF2-40B4-BE49-F238E27FC236}">
                <a16:creationId xmlns:a16="http://schemas.microsoft.com/office/drawing/2014/main" id="{05D738F6-9135-4370-8C3C-155BBA799C5C}"/>
              </a:ext>
            </a:extLst>
          </p:cNvPr>
          <p:cNvSpPr txBox="1">
            <a:spLocks/>
          </p:cNvSpPr>
          <p:nvPr userDrawn="1"/>
        </p:nvSpPr>
        <p:spPr>
          <a:xfrm>
            <a:off x="6679589" y="5404888"/>
            <a:ext cx="358775" cy="13983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/>
            </a:defPPr>
            <a:lvl1pPr marL="0" algn="ctr" defTabSz="966246" rtl="0" eaLnBrk="1" latinLnBrk="0" hangingPunct="1">
              <a:defRPr sz="800" b="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Aharoni" pitchFamily="2" charset="-79"/>
              </a:defRPr>
            </a:lvl1pPr>
            <a:lvl2pPr marL="483123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246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9370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32493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15616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98739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81863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4986" algn="l" defTabSz="96624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800" b="0" i="0" u="none" strike="noStrike" kern="1200" cap="none" spc="0" normalizeH="0" baseline="0" noProof="0" dirty="0">
              <a:ln>
                <a:noFill/>
              </a:ln>
              <a:solidFill>
                <a:srgbClr val="ED1A3B"/>
              </a:solidFill>
              <a:effectLst/>
              <a:uLnTx/>
              <a:uFillTx/>
              <a:latin typeface="Trebuchet MS"/>
              <a:ea typeface="+mn-ea"/>
              <a:cs typeface="Aharoni" pitchFamily="2" charset="-79"/>
            </a:endParaRPr>
          </a:p>
        </p:txBody>
      </p:sp>
      <p:sp>
        <p:nvSpPr>
          <p:cNvPr id="50" name="Page No">
            <a:extLst>
              <a:ext uri="{FF2B5EF4-FFF2-40B4-BE49-F238E27FC236}">
                <a16:creationId xmlns:a16="http://schemas.microsoft.com/office/drawing/2014/main" id="{D0B98924-D818-47BF-817A-E124D0B96C71}"/>
              </a:ext>
            </a:extLst>
          </p:cNvPr>
          <p:cNvSpPr txBox="1">
            <a:spLocks/>
          </p:cNvSpPr>
          <p:nvPr userDrawn="1"/>
        </p:nvSpPr>
        <p:spPr>
          <a:xfrm>
            <a:off x="5165846" y="7226414"/>
            <a:ext cx="360242" cy="99952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800" b="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Aharoni" pitchFamily="2" charset="-79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800" b="0" i="0" u="none" strike="noStrike" kern="1200" cap="none" spc="0" normalizeH="0" baseline="0" noProof="0" dirty="0">
              <a:ln>
                <a:noFill/>
              </a:ln>
              <a:solidFill>
                <a:srgbClr val="ED1A3B"/>
              </a:solidFill>
              <a:effectLst/>
              <a:uLnTx/>
              <a:uFillTx/>
              <a:latin typeface="Trebuchet MS"/>
              <a:ea typeface="+mn-ea"/>
              <a:cs typeface="Aharoni" pitchFamily="2" charset="-79"/>
            </a:endParaRPr>
          </a:p>
        </p:txBody>
      </p:sp>
      <p:pic>
        <p:nvPicPr>
          <p:cNvPr id="66" name="Grafik 65">
            <a:extLst>
              <a:ext uri="{FF2B5EF4-FFF2-40B4-BE49-F238E27FC236}">
                <a16:creationId xmlns:a16="http://schemas.microsoft.com/office/drawing/2014/main" id="{24C3B10B-CB38-4C16-A476-DD02948C008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6522" y="7108214"/>
            <a:ext cx="721437" cy="277101"/>
          </a:xfrm>
          <a:prstGeom prst="rect">
            <a:avLst/>
          </a:prstGeom>
        </p:spPr>
      </p:pic>
      <p:sp>
        <p:nvSpPr>
          <p:cNvPr id="99" name="Rechteck 98">
            <a:extLst>
              <a:ext uri="{FF2B5EF4-FFF2-40B4-BE49-F238E27FC236}">
                <a16:creationId xmlns:a16="http://schemas.microsoft.com/office/drawing/2014/main" id="{536AD807-9B92-4AAF-B622-3756BCCA2507}"/>
              </a:ext>
            </a:extLst>
          </p:cNvPr>
          <p:cNvSpPr/>
          <p:nvPr userDrawn="1"/>
        </p:nvSpPr>
        <p:spPr>
          <a:xfrm rot="5400000">
            <a:off x="10842596" y="2872425"/>
            <a:ext cx="360000" cy="360000"/>
          </a:xfrm>
          <a:prstGeom prst="rect">
            <a:avLst/>
          </a:prstGeom>
          <a:solidFill>
            <a:srgbClr val="F1536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06AA3144-C0E4-4DC5-8877-59F63DB46612}"/>
              </a:ext>
            </a:extLst>
          </p:cNvPr>
          <p:cNvSpPr/>
          <p:nvPr userDrawn="1"/>
        </p:nvSpPr>
        <p:spPr>
          <a:xfrm rot="5400000">
            <a:off x="10842596" y="2433077"/>
            <a:ext cx="360000" cy="360000"/>
          </a:xfrm>
          <a:prstGeom prst="rect">
            <a:avLst/>
          </a:prstGeom>
          <a:solidFill>
            <a:srgbClr val="F68C9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1D58D59-072E-45B1-8158-672C28844AD9}"/>
              </a:ext>
            </a:extLst>
          </p:cNvPr>
          <p:cNvSpPr/>
          <p:nvPr userDrawn="1"/>
        </p:nvSpPr>
        <p:spPr>
          <a:xfrm rot="5400000">
            <a:off x="10842596" y="1993169"/>
            <a:ext cx="360000" cy="360000"/>
          </a:xfrm>
          <a:prstGeom prst="rect">
            <a:avLst/>
          </a:prstGeom>
          <a:solidFill>
            <a:srgbClr val="FAC5C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51C5466F-AD52-4E9C-95F0-03A0F55D05BB}"/>
              </a:ext>
            </a:extLst>
          </p:cNvPr>
          <p:cNvSpPr/>
          <p:nvPr userDrawn="1"/>
        </p:nvSpPr>
        <p:spPr>
          <a:xfrm rot="5400000">
            <a:off x="10842596" y="4629817"/>
            <a:ext cx="360000" cy="360000"/>
          </a:xfrm>
          <a:prstGeom prst="rect">
            <a:avLst/>
          </a:prstGeom>
          <a:solidFill>
            <a:srgbClr val="A00C2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9F7D9B87-8E88-4657-B745-98E7512F2D8C}"/>
              </a:ext>
            </a:extLst>
          </p:cNvPr>
          <p:cNvSpPr/>
          <p:nvPr userDrawn="1"/>
        </p:nvSpPr>
        <p:spPr>
          <a:xfrm rot="5400000">
            <a:off x="10842596" y="5069165"/>
            <a:ext cx="360000" cy="360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247A689E-851B-4995-BFD5-39EAA527E4F6}"/>
              </a:ext>
            </a:extLst>
          </p:cNvPr>
          <p:cNvSpPr/>
          <p:nvPr userDrawn="1"/>
        </p:nvSpPr>
        <p:spPr>
          <a:xfrm rot="5400000">
            <a:off x="10842596" y="4190469"/>
            <a:ext cx="360000" cy="360000"/>
          </a:xfrm>
          <a:prstGeom prst="rect">
            <a:avLst/>
          </a:prstGeom>
          <a:solidFill>
            <a:srgbClr val="C6102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A1BBCE19-D76E-4311-B2E2-D575881AE995}"/>
              </a:ext>
            </a:extLst>
          </p:cNvPr>
          <p:cNvSpPr/>
          <p:nvPr userDrawn="1"/>
        </p:nvSpPr>
        <p:spPr>
          <a:xfrm rot="5400000">
            <a:off x="10842596" y="3311773"/>
            <a:ext cx="360000" cy="360000"/>
          </a:xfrm>
          <a:prstGeom prst="rect">
            <a:avLst/>
          </a:prstGeom>
          <a:solidFill>
            <a:srgbClr val="ED1A3B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8" name="Rechteck 107">
            <a:extLst>
              <a:ext uri="{FF2B5EF4-FFF2-40B4-BE49-F238E27FC236}">
                <a16:creationId xmlns:a16="http://schemas.microsoft.com/office/drawing/2014/main" id="{3BD05960-AA71-4FBC-99BE-BC7DB6129135}"/>
              </a:ext>
            </a:extLst>
          </p:cNvPr>
          <p:cNvSpPr/>
          <p:nvPr userDrawn="1"/>
        </p:nvSpPr>
        <p:spPr>
          <a:xfrm rot="5400000">
            <a:off x="10842596" y="5505015"/>
            <a:ext cx="360000" cy="360000"/>
          </a:xfrm>
          <a:prstGeom prst="rect">
            <a:avLst/>
          </a:prstGeom>
          <a:solidFill>
            <a:srgbClr val="67091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09" name="Rechteck 108">
            <a:extLst>
              <a:ext uri="{FF2B5EF4-FFF2-40B4-BE49-F238E27FC236}">
                <a16:creationId xmlns:a16="http://schemas.microsoft.com/office/drawing/2014/main" id="{C77FC766-DC47-4FD2-B369-903D90E40E3A}"/>
              </a:ext>
            </a:extLst>
          </p:cNvPr>
          <p:cNvSpPr/>
          <p:nvPr userDrawn="1"/>
        </p:nvSpPr>
        <p:spPr>
          <a:xfrm rot="5400000">
            <a:off x="11297556" y="2873179"/>
            <a:ext cx="360000" cy="360000"/>
          </a:xfrm>
          <a:prstGeom prst="rect">
            <a:avLst/>
          </a:prstGeom>
          <a:solidFill>
            <a:srgbClr val="B2BD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D98BBF4E-04B7-43F7-8C9F-4BE6B0285115}"/>
              </a:ext>
            </a:extLst>
          </p:cNvPr>
          <p:cNvSpPr/>
          <p:nvPr userDrawn="1"/>
        </p:nvSpPr>
        <p:spPr>
          <a:xfrm rot="5400000">
            <a:off x="11297556" y="2433968"/>
            <a:ext cx="360000" cy="360000"/>
          </a:xfrm>
          <a:prstGeom prst="rect">
            <a:avLst/>
          </a:prstGeom>
          <a:solidFill>
            <a:srgbClr val="C1CBD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1" name="Rechteck 110">
            <a:extLst>
              <a:ext uri="{FF2B5EF4-FFF2-40B4-BE49-F238E27FC236}">
                <a16:creationId xmlns:a16="http://schemas.microsoft.com/office/drawing/2014/main" id="{4B732E29-D5D8-4D0B-8FDE-BBBE9D728353}"/>
              </a:ext>
            </a:extLst>
          </p:cNvPr>
          <p:cNvSpPr/>
          <p:nvPr userDrawn="1"/>
        </p:nvSpPr>
        <p:spPr>
          <a:xfrm rot="5400000">
            <a:off x="11297556" y="4190812"/>
            <a:ext cx="360000" cy="360000"/>
          </a:xfrm>
          <a:prstGeom prst="rect">
            <a:avLst/>
          </a:prstGeom>
          <a:solidFill>
            <a:srgbClr val="4B5D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2" name="Rechteck 111">
            <a:extLst>
              <a:ext uri="{FF2B5EF4-FFF2-40B4-BE49-F238E27FC236}">
                <a16:creationId xmlns:a16="http://schemas.microsoft.com/office/drawing/2014/main" id="{28511985-6F88-4AD6-AED7-FC9C672E0F3A}"/>
              </a:ext>
            </a:extLst>
          </p:cNvPr>
          <p:cNvSpPr/>
          <p:nvPr userDrawn="1"/>
        </p:nvSpPr>
        <p:spPr>
          <a:xfrm rot="5400000">
            <a:off x="11297556" y="4629817"/>
            <a:ext cx="360000" cy="360000"/>
          </a:xfrm>
          <a:prstGeom prst="rect">
            <a:avLst/>
          </a:prstGeom>
          <a:solidFill>
            <a:srgbClr val="34404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FC21133F-750D-475F-A6D7-581535CBF642}"/>
              </a:ext>
            </a:extLst>
          </p:cNvPr>
          <p:cNvSpPr/>
          <p:nvPr userDrawn="1"/>
        </p:nvSpPr>
        <p:spPr>
          <a:xfrm rot="5400000">
            <a:off x="11297556" y="3751601"/>
            <a:ext cx="360000" cy="360000"/>
          </a:xfrm>
          <a:prstGeom prst="rect">
            <a:avLst/>
          </a:prstGeom>
          <a:solidFill>
            <a:srgbClr val="657C91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0E7A66D-0A52-4EB5-9B85-1565B0847070}"/>
              </a:ext>
            </a:extLst>
          </p:cNvPr>
          <p:cNvSpPr/>
          <p:nvPr userDrawn="1"/>
        </p:nvSpPr>
        <p:spPr>
          <a:xfrm rot="5400000">
            <a:off x="11297556" y="3312390"/>
            <a:ext cx="360000" cy="360000"/>
          </a:xfrm>
          <a:prstGeom prst="rect">
            <a:avLst/>
          </a:prstGeom>
          <a:solidFill>
            <a:srgbClr val="8B9CA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5" name="Rechteck 114">
            <a:extLst>
              <a:ext uri="{FF2B5EF4-FFF2-40B4-BE49-F238E27FC236}">
                <a16:creationId xmlns:a16="http://schemas.microsoft.com/office/drawing/2014/main" id="{401DA6AB-E7AF-4E24-9167-0878DC5E1CEA}"/>
              </a:ext>
            </a:extLst>
          </p:cNvPr>
          <p:cNvSpPr/>
          <p:nvPr userDrawn="1"/>
        </p:nvSpPr>
        <p:spPr>
          <a:xfrm rot="5400000">
            <a:off x="10842596" y="3751121"/>
            <a:ext cx="360000" cy="360000"/>
          </a:xfrm>
          <a:prstGeom prst="rect">
            <a:avLst/>
          </a:prstGeom>
          <a:solidFill>
            <a:srgbClr val="D1113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3C68A71F-2262-4360-BD8F-06F6FC4B3EA0}"/>
              </a:ext>
            </a:extLst>
          </p:cNvPr>
          <p:cNvSpPr/>
          <p:nvPr userDrawn="1"/>
        </p:nvSpPr>
        <p:spPr>
          <a:xfrm rot="5400000">
            <a:off x="11297556" y="1994757"/>
            <a:ext cx="360000" cy="360000"/>
          </a:xfrm>
          <a:prstGeom prst="rect">
            <a:avLst/>
          </a:prstGeom>
          <a:solidFill>
            <a:srgbClr val="D8DEE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0496E703-4217-4F32-ABAD-5E41F0244569}"/>
              </a:ext>
            </a:extLst>
          </p:cNvPr>
          <p:cNvSpPr/>
          <p:nvPr userDrawn="1"/>
        </p:nvSpPr>
        <p:spPr>
          <a:xfrm rot="5400000">
            <a:off x="11297556" y="1555739"/>
            <a:ext cx="360000" cy="360000"/>
          </a:xfrm>
          <a:prstGeom prst="rect">
            <a:avLst/>
          </a:prstGeom>
          <a:solidFill>
            <a:srgbClr val="E9EC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BDCA0308-8248-473F-B052-3DBF159EDD84}"/>
              </a:ext>
            </a:extLst>
          </p:cNvPr>
          <p:cNvSpPr/>
          <p:nvPr userDrawn="1"/>
        </p:nvSpPr>
        <p:spPr>
          <a:xfrm rot="5400000">
            <a:off x="11745190" y="4190469"/>
            <a:ext cx="360000" cy="360000"/>
          </a:xfrm>
          <a:prstGeom prst="rect">
            <a:avLst/>
          </a:prstGeom>
          <a:solidFill>
            <a:srgbClr val="51515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46A6BA0A-DA1A-442F-8BF2-9E2586BEC287}"/>
              </a:ext>
            </a:extLst>
          </p:cNvPr>
          <p:cNvSpPr/>
          <p:nvPr userDrawn="1"/>
        </p:nvSpPr>
        <p:spPr>
          <a:xfrm rot="5400000">
            <a:off x="11745190" y="3751121"/>
            <a:ext cx="360000" cy="360000"/>
          </a:xfrm>
          <a:prstGeom prst="rect">
            <a:avLst/>
          </a:prstGeom>
          <a:solidFill>
            <a:srgbClr val="6D6D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8C69A57-319B-44B2-B111-3066CF7AC314}"/>
              </a:ext>
            </a:extLst>
          </p:cNvPr>
          <p:cNvSpPr/>
          <p:nvPr userDrawn="1"/>
        </p:nvSpPr>
        <p:spPr>
          <a:xfrm rot="5400000">
            <a:off x="11297556" y="1116528"/>
            <a:ext cx="360000" cy="360000"/>
          </a:xfrm>
          <a:prstGeom prst="rect">
            <a:avLst/>
          </a:prstGeom>
          <a:solidFill>
            <a:srgbClr val="F1F3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2DA7B6FD-4896-49B5-AE94-95825A32EB50}"/>
              </a:ext>
            </a:extLst>
          </p:cNvPr>
          <p:cNvSpPr/>
          <p:nvPr userDrawn="1"/>
        </p:nvSpPr>
        <p:spPr>
          <a:xfrm rot="5400000">
            <a:off x="11745190" y="4633354"/>
            <a:ext cx="360000" cy="360000"/>
          </a:xfrm>
          <a:prstGeom prst="rect">
            <a:avLst/>
          </a:prstGeom>
          <a:solidFill>
            <a:srgbClr val="404040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9FA4E0D-4CDA-429B-A380-4739E51C41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412" y="1763713"/>
            <a:ext cx="9893251" cy="48898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64" name="Titelplatzhalter 2">
            <a:extLst>
              <a:ext uri="{FF2B5EF4-FFF2-40B4-BE49-F238E27FC236}">
                <a16:creationId xmlns:a16="http://schemas.microsoft.com/office/drawing/2014/main" id="{ABA0C236-7205-40B4-A4FD-36648B127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856" y="0"/>
            <a:ext cx="9892905" cy="97154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D88A98C-BD35-49C8-AF82-ACE6CB69C573}"/>
              </a:ext>
            </a:extLst>
          </p:cNvPr>
          <p:cNvSpPr/>
          <p:nvPr userDrawn="1"/>
        </p:nvSpPr>
        <p:spPr>
          <a:xfrm rot="5400000">
            <a:off x="12191885" y="3313930"/>
            <a:ext cx="360000" cy="360000"/>
          </a:xfrm>
          <a:prstGeom prst="rect">
            <a:avLst/>
          </a:prstGeom>
          <a:solidFill>
            <a:srgbClr val="2CBEB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9563DA5-F361-4820-8562-0B0EA19E27AC}"/>
              </a:ext>
            </a:extLst>
          </p:cNvPr>
          <p:cNvSpPr/>
          <p:nvPr userDrawn="1"/>
        </p:nvSpPr>
        <p:spPr>
          <a:xfrm rot="5400000">
            <a:off x="12640458" y="3316087"/>
            <a:ext cx="360000" cy="360000"/>
          </a:xfrm>
          <a:prstGeom prst="rect">
            <a:avLst/>
          </a:prstGeom>
          <a:solidFill>
            <a:srgbClr val="E3945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0931CBA4-180B-42B3-BF5E-A6B2F50F5D1D}"/>
              </a:ext>
            </a:extLst>
          </p:cNvPr>
          <p:cNvSpPr/>
          <p:nvPr userDrawn="1"/>
        </p:nvSpPr>
        <p:spPr>
          <a:xfrm rot="5400000">
            <a:off x="12191885" y="3751121"/>
            <a:ext cx="360000" cy="360000"/>
          </a:xfrm>
          <a:prstGeom prst="rect">
            <a:avLst/>
          </a:prstGeom>
          <a:solidFill>
            <a:srgbClr val="26A29C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A86CB4DB-D7DD-4754-82E2-B98CAABAA8D5}"/>
              </a:ext>
            </a:extLst>
          </p:cNvPr>
          <p:cNvSpPr/>
          <p:nvPr userDrawn="1"/>
        </p:nvSpPr>
        <p:spPr>
          <a:xfrm rot="5400000">
            <a:off x="12640458" y="3748120"/>
            <a:ext cx="360000" cy="360000"/>
          </a:xfrm>
          <a:prstGeom prst="rect">
            <a:avLst/>
          </a:prstGeom>
          <a:solidFill>
            <a:srgbClr val="DF8639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E2A5E609-6AF9-4025-A04C-701F6ADB2990}"/>
              </a:ext>
            </a:extLst>
          </p:cNvPr>
          <p:cNvSpPr/>
          <p:nvPr userDrawn="1"/>
        </p:nvSpPr>
        <p:spPr>
          <a:xfrm rot="5400000">
            <a:off x="12191885" y="4194006"/>
            <a:ext cx="360000" cy="360000"/>
          </a:xfrm>
          <a:prstGeom prst="rect">
            <a:avLst/>
          </a:prstGeom>
          <a:solidFill>
            <a:srgbClr val="218F8B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5952E643-29D5-4FD3-A970-2B609DEC542A}"/>
              </a:ext>
            </a:extLst>
          </p:cNvPr>
          <p:cNvSpPr/>
          <p:nvPr userDrawn="1"/>
        </p:nvSpPr>
        <p:spPr>
          <a:xfrm rot="5400000">
            <a:off x="12640458" y="4194006"/>
            <a:ext cx="360000" cy="360000"/>
          </a:xfrm>
          <a:prstGeom prst="rect">
            <a:avLst/>
          </a:prstGeom>
          <a:solidFill>
            <a:srgbClr val="CA6D2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695356D7-A6C4-4B96-98D1-AE163518677C}"/>
              </a:ext>
            </a:extLst>
          </p:cNvPr>
          <p:cNvSpPr/>
          <p:nvPr userDrawn="1"/>
        </p:nvSpPr>
        <p:spPr>
          <a:xfrm rot="5400000">
            <a:off x="11745190" y="3311773"/>
            <a:ext cx="360000" cy="360000"/>
          </a:xfrm>
          <a:prstGeom prst="rect">
            <a:avLst/>
          </a:prstGeom>
          <a:solidFill>
            <a:srgbClr val="8C8C8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EFFF53B1-2761-4DCB-A75B-A6B4EC18AFA9}"/>
              </a:ext>
            </a:extLst>
          </p:cNvPr>
          <p:cNvSpPr/>
          <p:nvPr userDrawn="1"/>
        </p:nvSpPr>
        <p:spPr>
          <a:xfrm rot="5400000">
            <a:off x="11745190" y="2872425"/>
            <a:ext cx="360000" cy="360000"/>
          </a:xfrm>
          <a:prstGeom prst="rect">
            <a:avLst/>
          </a:prstGeom>
          <a:solidFill>
            <a:srgbClr val="AEAEA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524D14BC-894E-45B6-AE3F-33A7F2B86DEE}"/>
              </a:ext>
            </a:extLst>
          </p:cNvPr>
          <p:cNvSpPr/>
          <p:nvPr userDrawn="1"/>
        </p:nvSpPr>
        <p:spPr>
          <a:xfrm rot="5400000">
            <a:off x="11745190" y="2434105"/>
            <a:ext cx="360000" cy="360000"/>
          </a:xfrm>
          <a:prstGeom prst="rect">
            <a:avLst/>
          </a:prstGeom>
          <a:solidFill>
            <a:srgbClr val="CBCBC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1B4C6336-C571-4E0D-A27E-ACDF03D01B6E}"/>
              </a:ext>
            </a:extLst>
          </p:cNvPr>
          <p:cNvSpPr/>
          <p:nvPr userDrawn="1"/>
        </p:nvSpPr>
        <p:spPr>
          <a:xfrm rot="5400000">
            <a:off x="12191885" y="4629817"/>
            <a:ext cx="360000" cy="360000"/>
          </a:xfrm>
          <a:prstGeom prst="rect">
            <a:avLst/>
          </a:prstGeom>
          <a:solidFill>
            <a:srgbClr val="1971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70A81E1F-141A-46B3-964D-C3A37AB1C253}"/>
              </a:ext>
            </a:extLst>
          </p:cNvPr>
          <p:cNvSpPr/>
          <p:nvPr userDrawn="1"/>
        </p:nvSpPr>
        <p:spPr>
          <a:xfrm rot="5400000">
            <a:off x="12191885" y="5069165"/>
            <a:ext cx="360000" cy="360000"/>
          </a:xfrm>
          <a:prstGeom prst="rect">
            <a:avLst/>
          </a:prstGeom>
          <a:solidFill>
            <a:srgbClr val="104C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2F09838C-8ADF-4A1C-8F81-0FFB2AC497BD}"/>
              </a:ext>
            </a:extLst>
          </p:cNvPr>
          <p:cNvSpPr/>
          <p:nvPr userDrawn="1"/>
        </p:nvSpPr>
        <p:spPr>
          <a:xfrm rot="5400000">
            <a:off x="11745211" y="5073533"/>
            <a:ext cx="360000" cy="360000"/>
          </a:xfrm>
          <a:prstGeom prst="rect">
            <a:avLst/>
          </a:prstGeom>
          <a:solidFill>
            <a:srgbClr val="2A2A2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124855F4-A21A-4078-9A3B-41E2463A5B69}"/>
              </a:ext>
            </a:extLst>
          </p:cNvPr>
          <p:cNvSpPr/>
          <p:nvPr userDrawn="1"/>
        </p:nvSpPr>
        <p:spPr>
          <a:xfrm rot="5400000">
            <a:off x="12191885" y="1993729"/>
            <a:ext cx="360000" cy="360000"/>
          </a:xfrm>
          <a:prstGeom prst="rect">
            <a:avLst/>
          </a:prstGeom>
          <a:solidFill>
            <a:srgbClr val="9FE9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1DA73982-A2DC-4412-AE16-764D6192BC91}"/>
              </a:ext>
            </a:extLst>
          </p:cNvPr>
          <p:cNvSpPr/>
          <p:nvPr userDrawn="1"/>
        </p:nvSpPr>
        <p:spPr>
          <a:xfrm rot="5400000">
            <a:off x="12191885" y="2433077"/>
            <a:ext cx="360000" cy="360000"/>
          </a:xfrm>
          <a:prstGeom prst="rect">
            <a:avLst/>
          </a:prstGeom>
          <a:solidFill>
            <a:srgbClr val="6DDD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50F62872-3E0A-4AFE-AF1B-C5C0BBB20878}"/>
              </a:ext>
            </a:extLst>
          </p:cNvPr>
          <p:cNvSpPr/>
          <p:nvPr userDrawn="1"/>
        </p:nvSpPr>
        <p:spPr>
          <a:xfrm rot="5400000">
            <a:off x="12191885" y="2872425"/>
            <a:ext cx="360000" cy="360000"/>
          </a:xfrm>
          <a:prstGeom prst="rect">
            <a:avLst/>
          </a:prstGeom>
          <a:solidFill>
            <a:srgbClr val="34D0C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0" name="Rectangle 167">
            <a:extLst>
              <a:ext uri="{FF2B5EF4-FFF2-40B4-BE49-F238E27FC236}">
                <a16:creationId xmlns:a16="http://schemas.microsoft.com/office/drawing/2014/main" id="{3E508E03-6462-457B-9885-AE0CB0B46620}"/>
              </a:ext>
            </a:extLst>
          </p:cNvPr>
          <p:cNvSpPr/>
          <p:nvPr userDrawn="1"/>
        </p:nvSpPr>
        <p:spPr>
          <a:xfrm>
            <a:off x="9270320" y="7193535"/>
            <a:ext cx="288000" cy="15388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8AC67-8649-4DF3-896E-D4ABC81FCA57}" type="slidenum">
              <a:rPr kumimoji="0" lang="de-AT" sz="1000" b="0" i="1" u="none" strike="noStrike" kern="1200" cap="none" spc="0" normalizeH="0" baseline="0" noProof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Aharoni" pitchFamily="2" charset="-79"/>
              </a:rPr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2" name="Rectangle 167">
            <a:extLst>
              <a:ext uri="{FF2B5EF4-FFF2-40B4-BE49-F238E27FC236}">
                <a16:creationId xmlns:a16="http://schemas.microsoft.com/office/drawing/2014/main" id="{AE7E6DCC-37FA-4E4E-A5B4-621CA736C56B}"/>
              </a:ext>
            </a:extLst>
          </p:cNvPr>
          <p:cNvSpPr/>
          <p:nvPr userDrawn="1"/>
        </p:nvSpPr>
        <p:spPr>
          <a:xfrm>
            <a:off x="7355063" y="7193535"/>
            <a:ext cx="1668727" cy="15388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 marL="0" marR="0" lvl="0" indent="0" algn="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all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e search for greatness.</a:t>
            </a:r>
          </a:p>
        </p:txBody>
      </p:sp>
      <p:sp>
        <p:nvSpPr>
          <p:cNvPr id="93" name="Rectangle 167">
            <a:extLst>
              <a:ext uri="{FF2B5EF4-FFF2-40B4-BE49-F238E27FC236}">
                <a16:creationId xmlns:a16="http://schemas.microsoft.com/office/drawing/2014/main" id="{E7E411F0-5732-424C-A7D4-9AAD51736FBE}"/>
              </a:ext>
            </a:extLst>
          </p:cNvPr>
          <p:cNvSpPr/>
          <p:nvPr userDrawn="1"/>
        </p:nvSpPr>
        <p:spPr>
          <a:xfrm>
            <a:off x="9128818" y="7193535"/>
            <a:ext cx="107402" cy="153888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 marL="0" marR="0" lvl="0" indent="0" algn="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.</a:t>
            </a:r>
          </a:p>
        </p:txBody>
      </p:sp>
      <p:sp>
        <p:nvSpPr>
          <p:cNvPr id="106" name="Rechteck 105">
            <a:extLst>
              <a:ext uri="{FF2B5EF4-FFF2-40B4-BE49-F238E27FC236}">
                <a16:creationId xmlns:a16="http://schemas.microsoft.com/office/drawing/2014/main" id="{F394B9FE-99FA-48C2-B534-DF33E6AF9192}"/>
              </a:ext>
            </a:extLst>
          </p:cNvPr>
          <p:cNvSpPr/>
          <p:nvPr userDrawn="1"/>
        </p:nvSpPr>
        <p:spPr>
          <a:xfrm rot="5400000">
            <a:off x="12640458" y="5505015"/>
            <a:ext cx="360000" cy="360000"/>
          </a:xfrm>
          <a:prstGeom prst="rect">
            <a:avLst/>
          </a:prstGeom>
          <a:solidFill>
            <a:srgbClr val="98002E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04A44E9E-7DC2-45E6-86B5-129B78E02323}"/>
              </a:ext>
            </a:extLst>
          </p:cNvPr>
          <p:cNvSpPr/>
          <p:nvPr userDrawn="1"/>
        </p:nvSpPr>
        <p:spPr>
          <a:xfrm rot="5400000">
            <a:off x="12640458" y="2439791"/>
            <a:ext cx="360000" cy="360000"/>
          </a:xfrm>
          <a:prstGeom prst="rect">
            <a:avLst/>
          </a:prstGeom>
          <a:solidFill>
            <a:srgbClr val="02A5E2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BB58118-45AB-4143-8B03-E4D784D89528}"/>
              </a:ext>
            </a:extLst>
          </p:cNvPr>
          <p:cNvSpPr/>
          <p:nvPr userDrawn="1"/>
        </p:nvSpPr>
        <p:spPr>
          <a:xfrm rot="5400000">
            <a:off x="12640458" y="5069165"/>
            <a:ext cx="360000" cy="360000"/>
          </a:xfrm>
          <a:prstGeom prst="rect">
            <a:avLst/>
          </a:prstGeom>
          <a:solidFill>
            <a:srgbClr val="B13F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C3CC60E-CC46-4500-8B76-3CECAA421457}"/>
              </a:ext>
            </a:extLst>
          </p:cNvPr>
          <p:cNvSpPr/>
          <p:nvPr userDrawn="1"/>
        </p:nvSpPr>
        <p:spPr>
          <a:xfrm rot="5400000">
            <a:off x="12640458" y="2000443"/>
            <a:ext cx="360000" cy="360000"/>
          </a:xfrm>
          <a:prstGeom prst="rect">
            <a:avLst/>
          </a:prstGeom>
          <a:solidFill>
            <a:srgbClr val="41BB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06F5669-54F6-4B48-BB18-CE9CEEFE5123}"/>
              </a:ext>
            </a:extLst>
          </p:cNvPr>
          <p:cNvSpPr/>
          <p:nvPr userDrawn="1"/>
        </p:nvSpPr>
        <p:spPr>
          <a:xfrm rot="5400000">
            <a:off x="12640458" y="4629817"/>
            <a:ext cx="360000" cy="360000"/>
          </a:xfrm>
          <a:prstGeom prst="rect">
            <a:avLst/>
          </a:prstGeom>
          <a:solidFill>
            <a:srgbClr val="CB7F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C4770B15-9FFF-420F-A40E-73C16B61839D}"/>
              </a:ext>
            </a:extLst>
          </p:cNvPr>
          <p:cNvSpPr/>
          <p:nvPr userDrawn="1"/>
        </p:nvSpPr>
        <p:spPr>
          <a:xfrm rot="5400000">
            <a:off x="12640458" y="1568410"/>
            <a:ext cx="360000" cy="360000"/>
          </a:xfrm>
          <a:prstGeom prst="rect">
            <a:avLst/>
          </a:prstGeom>
          <a:solidFill>
            <a:srgbClr val="80D2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E311955F-7367-4F69-AC1F-52BD1447AE72}"/>
              </a:ext>
            </a:extLst>
          </p:cNvPr>
          <p:cNvSpPr/>
          <p:nvPr userDrawn="1"/>
        </p:nvSpPr>
        <p:spPr>
          <a:xfrm rot="5400000">
            <a:off x="12640458" y="1127401"/>
            <a:ext cx="360000" cy="360000"/>
          </a:xfrm>
          <a:prstGeom prst="rect">
            <a:avLst/>
          </a:prstGeom>
          <a:solidFill>
            <a:srgbClr val="BFE8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7CCC98FB-ABBC-4E50-A1FE-6376ACABBEE9}"/>
              </a:ext>
            </a:extLst>
          </p:cNvPr>
          <p:cNvSpPr/>
          <p:nvPr userDrawn="1"/>
        </p:nvSpPr>
        <p:spPr>
          <a:xfrm rot="5400000">
            <a:off x="12640458" y="2872425"/>
            <a:ext cx="360000" cy="360000"/>
          </a:xfrm>
          <a:prstGeom prst="rect">
            <a:avLst/>
          </a:prstGeom>
          <a:solidFill>
            <a:srgbClr val="0293C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C400739-8552-4CF1-9A8D-17FF4186311B}"/>
              </a:ext>
            </a:extLst>
          </p:cNvPr>
          <p:cNvSpPr/>
          <p:nvPr userDrawn="1"/>
        </p:nvSpPr>
        <p:spPr>
          <a:xfrm rot="5400000">
            <a:off x="12640458" y="5954545"/>
            <a:ext cx="360000" cy="360000"/>
          </a:xfrm>
          <a:prstGeom prst="rect">
            <a:avLst/>
          </a:prstGeom>
          <a:solidFill>
            <a:srgbClr val="820028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93DBED87-B1FF-4B27-BF96-F860C122C093}"/>
              </a:ext>
            </a:extLst>
          </p:cNvPr>
          <p:cNvSpPr/>
          <p:nvPr userDrawn="1"/>
        </p:nvSpPr>
        <p:spPr>
          <a:xfrm rot="5400000">
            <a:off x="11745190" y="1999849"/>
            <a:ext cx="360000" cy="360000"/>
          </a:xfrm>
          <a:prstGeom prst="rect">
            <a:avLst/>
          </a:prstGeom>
          <a:solidFill>
            <a:srgbClr val="E7E7E7"/>
          </a:solidFill>
          <a:ln w="28575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F13D483D-B360-45FF-B5B4-A6216A279DCD}"/>
              </a:ext>
            </a:extLst>
          </p:cNvPr>
          <p:cNvSpPr txBox="1"/>
          <p:nvPr userDrawn="1"/>
        </p:nvSpPr>
        <p:spPr>
          <a:xfrm>
            <a:off x="4914652" y="136801"/>
            <a:ext cx="5383307" cy="1077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52000" marR="0" lvl="0" indent="-252000" algn="r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None/>
              <a:tabLst/>
            </a:pPr>
            <a:r>
              <a:rPr kumimoji="0" lang="de-AT" sz="700" b="0" i="1" u="none" strike="noStrike" kern="1200" cap="all" spc="0" normalizeH="0" baseline="0" dirty="0" err="1">
                <a:ln>
                  <a:noFill/>
                </a:ln>
                <a:solidFill>
                  <a:schemeClr val="tx1">
                    <a:alpha val="6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rPr>
              <a:t>Confidential</a:t>
            </a:r>
            <a:endParaRPr kumimoji="0" lang="de-AT" sz="700" b="0" i="1" u="none" strike="noStrike" kern="1200" cap="all" spc="0" normalizeH="0" baseline="0" dirty="0">
              <a:ln>
                <a:noFill/>
              </a:ln>
              <a:solidFill>
                <a:schemeClr val="tx1">
                  <a:alpha val="6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0404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3" r:id="rId3"/>
  </p:sldLayoutIdLst>
  <p:hf sldNum="0" hdr="0" ftr="0" dt="0"/>
  <p:txStyles>
    <p:titleStyle>
      <a:lvl1pPr algn="l" defTabSz="966246" rtl="0" eaLnBrk="1" latinLnBrk="0" hangingPunct="1">
        <a:lnSpc>
          <a:spcPts val="2500"/>
        </a:lnSpc>
        <a:spcBef>
          <a:spcPct val="0"/>
        </a:spcBef>
        <a:buNone/>
        <a:defRPr sz="2400" b="1" kern="1200" cap="all" baseline="0">
          <a:solidFill>
            <a:srgbClr val="404040"/>
          </a:solidFill>
          <a:latin typeface="+mn-lt"/>
          <a:ea typeface="+mj-ea"/>
          <a:cs typeface="Arial" pitchFamily="34" charset="0"/>
        </a:defRPr>
      </a:lvl1pPr>
    </p:titleStyle>
    <p:bodyStyle>
      <a:lvl1pPr marL="252000" marR="0" indent="-252000" algn="l" defTabSz="1008044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80000"/>
        <a:buFont typeface="Wingdings 3" panose="05040102010807070707" pitchFamily="18" charset="2"/>
        <a:buChar char="u"/>
        <a:tabLst/>
        <a:defRPr kumimoji="0" lang="de-DE" sz="1400" b="0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  <a:sym typeface="Arial"/>
        </a:defRPr>
      </a:lvl1pPr>
      <a:lvl2pPr marL="488950" indent="-250825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defRPr kumimoji="0" lang="de-DE" sz="1400" b="0" i="0" u="none" strike="noStrike" kern="1200" cap="none" spc="0" normalizeH="0" baseline="0" dirty="0">
          <a:ln>
            <a:noFill/>
          </a:ln>
          <a:solidFill>
            <a:srgbClr val="404040"/>
          </a:solidFill>
          <a:effectLst/>
          <a:uLnTx/>
          <a:uFillTx/>
          <a:latin typeface="Trebuchet MS" panose="020B0603020202020204" pitchFamily="34" charset="0"/>
          <a:ea typeface="+mn-ea"/>
          <a:cs typeface="+mn-cs"/>
          <a:sym typeface="Arial"/>
        </a:defRPr>
      </a:lvl2pPr>
      <a:lvl3pPr marL="738188" indent="-250825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defRPr kumimoji="0" lang="de-DE" sz="1200" b="0" i="0" u="none" strike="noStrike" kern="1200" cap="none" spc="0" normalizeH="0" baseline="0" dirty="0">
          <a:ln>
            <a:noFill/>
          </a:ln>
          <a:solidFill>
            <a:srgbClr val="404040"/>
          </a:solidFill>
          <a:effectLst/>
          <a:uLnTx/>
          <a:uFillTx/>
          <a:latin typeface="Trebuchet MS" panose="020B0603020202020204" pitchFamily="34" charset="0"/>
          <a:ea typeface="+mn-ea"/>
          <a:cs typeface="+mn-cs"/>
          <a:sym typeface="Arial"/>
        </a:defRPr>
      </a:lvl3pPr>
      <a:lvl4pPr marL="992188" indent="-250825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defRPr sz="900" b="0" i="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4pPr>
      <a:lvl5pPr marL="1227138" indent="-241300" algn="l" defTabSz="96624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ED1A3B"/>
        </a:buClr>
        <a:buSzPct val="100000"/>
        <a:buFont typeface="Wingdings" panose="05000000000000000000" pitchFamily="2" charset="2"/>
        <a:buChar char="§"/>
        <a:tabLst>
          <a:tab pos="759913" algn="l"/>
        </a:tabLst>
        <a:defRPr sz="900" b="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5pPr>
      <a:lvl6pPr marL="288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•"/>
        <a:defRPr sz="900" kern="1200" baseline="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6pPr>
      <a:lvl7pPr marL="432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–"/>
        <a:defRPr sz="9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7pPr>
      <a:lvl8pPr marL="576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Trebuchet MS" panose="020B0603020202020204" pitchFamily="34" charset="0"/>
        <a:buChar char="◦"/>
        <a:defRPr sz="900" kern="120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8pPr>
      <a:lvl9pPr marL="720000" indent="-144000" algn="l" defTabSz="96624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Font typeface="Trebuchet MS" panose="020B0603020202020204" pitchFamily="34" charset="0"/>
        <a:buChar char="–"/>
        <a:defRPr sz="900" kern="1200" baseline="0">
          <a:solidFill>
            <a:schemeClr val="tx1"/>
          </a:solidFill>
          <a:latin typeface="Trebuchet MS" panose="020B0603020202020204" pitchFamily="34" charset="0"/>
          <a:ea typeface="+mn-ea"/>
          <a:cs typeface="Arial" pitchFamily="34" charset="0"/>
        </a:defRPr>
      </a:lvl9pPr>
    </p:bodyStyle>
    <p:otherStyle>
      <a:defPPr>
        <a:defRPr/>
      </a:defPPr>
      <a:lvl1pPr marL="0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3123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6246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9370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32493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15616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98739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81863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64986" algn="l" defTabSz="9662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11">
          <p15:clr>
            <a:srgbClr val="F26B43"/>
          </p15:clr>
        </p15:guide>
        <p15:guide id="2" orient="horz" pos="4196">
          <p15:clr>
            <a:srgbClr val="F26B43"/>
          </p15:clr>
        </p15:guide>
        <p15:guide id="3" pos="250">
          <p15:clr>
            <a:srgbClr val="F26B43"/>
          </p15:clr>
        </p15:guide>
        <p15:guide id="4" pos="6488">
          <p15:clr>
            <a:srgbClr val="F26B43"/>
          </p15:clr>
        </p15:guide>
        <p15:guide id="5" pos="3252">
          <p15:clr>
            <a:srgbClr val="F26B43"/>
          </p15:clr>
        </p15:guide>
        <p15:guide id="7" orient="horz" pos="885">
          <p15:clr>
            <a:srgbClr val="F26B43"/>
          </p15:clr>
        </p15:guide>
        <p15:guide id="8" orient="horz">
          <p15:clr>
            <a:srgbClr val="A4A3A4"/>
          </p15:clr>
        </p15:guide>
        <p15:guide id="9" orient="horz" pos="4763">
          <p15:clr>
            <a:srgbClr val="A4A3A4"/>
          </p15:clr>
        </p15:guide>
        <p15:guide id="11" pos="6736">
          <p15:clr>
            <a:srgbClr val="A4A3A4"/>
          </p15:clr>
        </p15:guide>
        <p15:guide id="12" pos="3368">
          <p15:clr>
            <a:srgbClr val="F26B43"/>
          </p15:clr>
        </p15:guide>
        <p15:guide id="13" pos="348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9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ewald.kager@bdo.at" TargetMode="Externa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bdo.at/cyber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microsoft.com/office/2007/relationships/hdphoto" Target="../media/hdphoto1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emf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24A9244-3832-45A3-A4EB-9F9155EE1A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24A9244-3832-45A3-A4EB-9F9155EE1A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ADCBB88-5880-40B3-BD1F-1052F6DF0E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30.03.2023</a:t>
            </a:r>
          </a:p>
          <a:p>
            <a:r>
              <a:rPr lang="de-AT" dirty="0"/>
              <a:t>Ewald KAGER</a:t>
            </a:r>
            <a:br>
              <a:rPr lang="de-AT" dirty="0"/>
            </a:br>
            <a:r>
              <a:rPr lang="de-AT" dirty="0"/>
              <a:t>BDO Austria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118ACAD-F059-40E8-A2CB-C938CCB088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AT" dirty="0"/>
              <a:t>Bedrohungen und Schutz vor Angriffen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34DC165-4DB2-4F4C-A8FB-7F88CBA97E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de-DE" dirty="0" err="1"/>
              <a:t>Cyber</a:t>
            </a:r>
            <a:r>
              <a:rPr lang="de-DE" dirty="0"/>
              <a:t> Security</a:t>
            </a:r>
          </a:p>
        </p:txBody>
      </p:sp>
    </p:spTree>
    <p:extLst>
      <p:ext uri="{BB962C8B-B14F-4D97-AF65-F5344CB8AC3E}">
        <p14:creationId xmlns:p14="http://schemas.microsoft.com/office/powerpoint/2010/main" val="30615491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CF681B92-59ED-4A8E-9332-A64BD61116B0}"/>
              </a:ext>
            </a:extLst>
          </p:cNvPr>
          <p:cNvSpPr/>
          <p:nvPr/>
        </p:nvSpPr>
        <p:spPr>
          <a:xfrm>
            <a:off x="0" y="1404938"/>
            <a:ext cx="10693400" cy="5256212"/>
          </a:xfrm>
          <a:prstGeom prst="rect">
            <a:avLst/>
          </a:prstGeom>
          <a:solidFill>
            <a:srgbClr val="E0E5E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9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18FC953A-ADC3-4763-BF61-5366C92C7013}"/>
              </a:ext>
            </a:extLst>
          </p:cNvPr>
          <p:cNvGrpSpPr/>
          <p:nvPr/>
        </p:nvGrpSpPr>
        <p:grpSpPr>
          <a:xfrm>
            <a:off x="-1" y="6454220"/>
            <a:ext cx="4230142" cy="389266"/>
            <a:chOff x="-1" y="6468734"/>
            <a:chExt cx="4230142" cy="389266"/>
          </a:xfrm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62BEE68E-C7E7-4B3E-83C2-205D983A2B73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3840875" y="6468734"/>
              <a:ext cx="389266" cy="389266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BBB0D019-34AB-48D8-909C-65A94CBEE5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" y="6663367"/>
              <a:ext cx="4035509" cy="0"/>
            </a:xfrm>
            <a:prstGeom prst="line">
              <a:avLst/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F10725D-6BE2-4E99-A0FF-DEA5ABEAB6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Straftaten vs. geklärte Straftaten – Report 2021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7659942-7057-406D-99CE-78C35FC88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Cyber</a:t>
            </a:r>
            <a:r>
              <a:rPr lang="de-AT" dirty="0"/>
              <a:t> </a:t>
            </a:r>
            <a:r>
              <a:rPr lang="de-AT" dirty="0" err="1"/>
              <a:t>crime</a:t>
            </a:r>
            <a:r>
              <a:rPr lang="de-AT" dirty="0"/>
              <a:t> in Österreich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11A77CC-35E3-4867-A04E-4560703262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6455" y="1545162"/>
            <a:ext cx="8678717" cy="4734663"/>
          </a:xfrm>
          <a:prstGeom prst="rect">
            <a:avLst/>
          </a:prstGeom>
          <a:ln>
            <a:noFill/>
          </a:ln>
          <a:effectLst/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1435133-D255-4CCE-BA3F-DB93A7DD5AD6}"/>
              </a:ext>
            </a:extLst>
          </p:cNvPr>
          <p:cNvSpPr txBox="1"/>
          <p:nvPr/>
        </p:nvSpPr>
        <p:spPr>
          <a:xfrm>
            <a:off x="7506940" y="2844527"/>
            <a:ext cx="936104" cy="360040"/>
          </a:xfrm>
          <a:prstGeom prst="rect">
            <a:avLst/>
          </a:prstGeom>
          <a:solidFill>
            <a:srgbClr val="ED1A3B"/>
          </a:solidFill>
          <a:ln>
            <a:noFill/>
          </a:ln>
        </p:spPr>
        <p:txBody>
          <a:bodyPr wrap="none" lIns="36000" tIns="36000" rIns="36000" bIns="36000" rtlCol="0" anchor="t" anchorCtr="0">
            <a:noAutofit/>
          </a:bodyPr>
          <a:lstStyle/>
          <a:p>
            <a:pPr algn="ctr" defTabSz="1008044"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de-AT" sz="1800" dirty="0">
                <a:solidFill>
                  <a:srgbClr val="FFFFFF"/>
                </a:solidFill>
                <a:sym typeface="Arial"/>
              </a:rPr>
              <a:t>+28,6%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EA39D0C-DAA0-4CD3-AB6C-0B2CD44213EF}"/>
              </a:ext>
            </a:extLst>
          </p:cNvPr>
          <p:cNvSpPr txBox="1"/>
          <p:nvPr/>
        </p:nvSpPr>
        <p:spPr>
          <a:xfrm>
            <a:off x="5922764" y="3421385"/>
            <a:ext cx="936104" cy="360040"/>
          </a:xfrm>
          <a:prstGeom prst="rect">
            <a:avLst/>
          </a:prstGeom>
          <a:solidFill>
            <a:srgbClr val="ED1A3B"/>
          </a:solidFill>
          <a:ln>
            <a:noFill/>
          </a:ln>
        </p:spPr>
        <p:txBody>
          <a:bodyPr wrap="none" lIns="36000" tIns="36000" rIns="36000" bIns="36000" rtlCol="0" anchor="t" anchorCtr="0">
            <a:noAutofit/>
          </a:bodyPr>
          <a:lstStyle/>
          <a:p>
            <a:pPr algn="ctr" defTabSz="1008044"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de-AT" sz="1800" dirty="0">
                <a:solidFill>
                  <a:srgbClr val="FFFFFF"/>
                </a:solidFill>
                <a:sym typeface="Arial"/>
              </a:rPr>
              <a:t>+26,3%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690EECD-BB02-4708-A16F-E6E739CA1917}"/>
              </a:ext>
            </a:extLst>
          </p:cNvPr>
          <p:cNvSpPr txBox="1"/>
          <p:nvPr/>
        </p:nvSpPr>
        <p:spPr>
          <a:xfrm>
            <a:off x="9091116" y="5004767"/>
            <a:ext cx="576064" cy="256310"/>
          </a:xfrm>
          <a:prstGeom prst="rect">
            <a:avLst/>
          </a:prstGeom>
          <a:solidFill>
            <a:srgbClr val="ED1A3B"/>
          </a:solidFill>
          <a:ln>
            <a:noFill/>
          </a:ln>
        </p:spPr>
        <p:txBody>
          <a:bodyPr wrap="none" lIns="36000" tIns="36000" rIns="36000" bIns="36000" rtlCol="0" anchor="t" anchorCtr="0">
            <a:noAutofit/>
          </a:bodyPr>
          <a:lstStyle/>
          <a:p>
            <a:pPr algn="ctr" defTabSz="1008044"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de-AT" sz="1200" dirty="0">
                <a:solidFill>
                  <a:srgbClr val="FFFFFF"/>
                </a:solidFill>
                <a:sym typeface="Arial"/>
              </a:rPr>
              <a:t>36,9%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CB05981-A1C3-41DD-A3C5-11F5F86007BD}"/>
              </a:ext>
            </a:extLst>
          </p:cNvPr>
          <p:cNvSpPr txBox="1"/>
          <p:nvPr/>
        </p:nvSpPr>
        <p:spPr>
          <a:xfrm>
            <a:off x="844447" y="6279825"/>
            <a:ext cx="651201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AT" sz="900" dirty="0"/>
              <a:t>https://bundeskriminalamt.at/306/files/2022-222_Cybercrime_Report_2021_-_V20220621_1030_webBF.pdf</a:t>
            </a:r>
          </a:p>
        </p:txBody>
      </p:sp>
    </p:spTree>
    <p:extLst>
      <p:ext uri="{BB962C8B-B14F-4D97-AF65-F5344CB8AC3E}">
        <p14:creationId xmlns:p14="http://schemas.microsoft.com/office/powerpoint/2010/main" val="3098027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Cybercrime- IT-Kriminalität als weltweit hochprofitables Geschäf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noProof="0" dirty="0"/>
              <a:t>Erfolgreiche Angriffe aus der Vergangenheit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6177" y="1763713"/>
            <a:ext cx="6061045" cy="33500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9E8790F-D424-4B2A-BA5B-19A91C644CE2}"/>
              </a:ext>
            </a:extLst>
          </p:cNvPr>
          <p:cNvGrpSpPr/>
          <p:nvPr/>
        </p:nvGrpSpPr>
        <p:grpSpPr>
          <a:xfrm>
            <a:off x="-6183" y="5366084"/>
            <a:ext cx="2002988" cy="832598"/>
            <a:chOff x="-672363" y="5366084"/>
            <a:chExt cx="2002988" cy="832598"/>
          </a:xfrm>
        </p:grpSpPr>
        <p:sp>
          <p:nvSpPr>
            <p:cNvPr id="7" name="Freeform 147">
              <a:extLst>
                <a:ext uri="{FF2B5EF4-FFF2-40B4-BE49-F238E27FC236}">
                  <a16:creationId xmlns:a16="http://schemas.microsoft.com/office/drawing/2014/main" id="{6958CF8F-ECCF-43D6-BC4F-3C0508579C56}"/>
                </a:ext>
              </a:extLst>
            </p:cNvPr>
            <p:cNvSpPr/>
            <p:nvPr/>
          </p:nvSpPr>
          <p:spPr>
            <a:xfrm>
              <a:off x="479003" y="5366084"/>
              <a:ext cx="851622" cy="832598"/>
            </a:xfrm>
            <a:custGeom>
              <a:avLst/>
              <a:gdLst/>
              <a:ahLst/>
              <a:cxnLst/>
              <a:rect l="0" t="0" r="0" b="0"/>
              <a:pathLst>
                <a:path w="1923896" h="1880920">
                  <a:moveTo>
                    <a:pt x="961948" y="1880920"/>
                  </a:moveTo>
                  <a:cubicBezTo>
                    <a:pt x="1493214" y="1880920"/>
                    <a:pt x="1923896" y="1459865"/>
                    <a:pt x="1923896" y="940460"/>
                  </a:cubicBezTo>
                  <a:cubicBezTo>
                    <a:pt x="1923896" y="421068"/>
                    <a:pt x="1493214" y="0"/>
                    <a:pt x="961948" y="0"/>
                  </a:cubicBezTo>
                  <a:cubicBezTo>
                    <a:pt x="430682" y="0"/>
                    <a:pt x="0" y="421068"/>
                    <a:pt x="0" y="940460"/>
                  </a:cubicBezTo>
                  <a:cubicBezTo>
                    <a:pt x="0" y="1459865"/>
                    <a:pt x="430682" y="1880920"/>
                    <a:pt x="961948" y="1880920"/>
                  </a:cubicBezTo>
                  <a:close/>
                </a:path>
              </a:pathLst>
            </a:custGeom>
            <a:noFill/>
            <a:ln w="19050" cap="flat" cmpd="sng">
              <a:solidFill>
                <a:srgbClr val="404040"/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" name="Freeform 160">
              <a:extLst>
                <a:ext uri="{FF2B5EF4-FFF2-40B4-BE49-F238E27FC236}">
                  <a16:creationId xmlns:a16="http://schemas.microsoft.com/office/drawing/2014/main" id="{B2871731-94EE-4447-BA1E-3FBD56E164FA}"/>
                </a:ext>
              </a:extLst>
            </p:cNvPr>
            <p:cNvSpPr/>
            <p:nvPr/>
          </p:nvSpPr>
          <p:spPr>
            <a:xfrm flipV="1">
              <a:off x="-672363" y="5782381"/>
              <a:ext cx="1538651" cy="0"/>
            </a:xfrm>
            <a:custGeom>
              <a:avLst/>
              <a:gdLst/>
              <a:ahLst/>
              <a:cxnLst/>
              <a:rect l="0" t="0" r="0" b="0"/>
              <a:pathLst>
                <a:path w="3745064">
                  <a:moveTo>
                    <a:pt x="0" y="0"/>
                  </a:moveTo>
                  <a:lnTo>
                    <a:pt x="3745064" y="0"/>
                  </a:lnTo>
                </a:path>
              </a:pathLst>
            </a:custGeom>
            <a:noFill/>
            <a:ln w="19050" cap="flat" cmpd="sng">
              <a:solidFill>
                <a:srgbClr val="404040"/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D72860BE-7755-413C-9493-0607FE8515B9}"/>
              </a:ext>
            </a:extLst>
          </p:cNvPr>
          <p:cNvSpPr/>
          <p:nvPr/>
        </p:nvSpPr>
        <p:spPr>
          <a:xfrm>
            <a:off x="1532469" y="5681384"/>
            <a:ext cx="9160931" cy="979761"/>
          </a:xfrm>
          <a:prstGeom prst="rect">
            <a:avLst/>
          </a:prstGeom>
          <a:solidFill>
            <a:srgbClr val="E0E5E9">
              <a:alpha val="9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76082" rIns="360000" bIns="760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FACC war Anfang 2016 Opfer eines "Fake </a:t>
            </a:r>
            <a:r>
              <a:rPr kumimoji="0" lang="de-A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resident</a:t>
            </a: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Fraud" geworden. Betrüger hatten sich gegenüber der Buchhaltung des Unternehmens als Firmenchefs ausgegeben und in mehr als 92 "streng vertraulichen" Mails die Überweisung von </a:t>
            </a:r>
            <a:r>
              <a:rPr kumimoji="0" lang="de-AT" sz="14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54 Millionen Euro </a:t>
            </a: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auf ausländische Konten gefordert. Die Buchhaltung kam der vermeintlichen Weisung des Vorstands nach.</a:t>
            </a:r>
          </a:p>
        </p:txBody>
      </p:sp>
    </p:spTree>
    <p:extLst>
      <p:ext uri="{BB962C8B-B14F-4D97-AF65-F5344CB8AC3E}">
        <p14:creationId xmlns:p14="http://schemas.microsoft.com/office/powerpoint/2010/main" val="41167485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Cybercrime- IT-Kriminalität als weltweit hochprofitables Geschäf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noProof="0" dirty="0"/>
              <a:t>Erfolgreiche Angriffe aus der Vergangenheit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316177" y="2453153"/>
            <a:ext cx="6061045" cy="19711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D72860BE-7755-413C-9493-0607FE8515B9}"/>
              </a:ext>
            </a:extLst>
          </p:cNvPr>
          <p:cNvSpPr/>
          <p:nvPr/>
        </p:nvSpPr>
        <p:spPr>
          <a:xfrm>
            <a:off x="1532469" y="5681384"/>
            <a:ext cx="9160931" cy="979761"/>
          </a:xfrm>
          <a:prstGeom prst="rect">
            <a:avLst/>
          </a:prstGeom>
          <a:solidFill>
            <a:srgbClr val="E0E5E9">
              <a:alpha val="9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76082" rIns="360000" bIns="760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Nachdem Hacker einen Großteil der </a:t>
            </a:r>
            <a:r>
              <a:rPr kumimoji="0" lang="de-AT" sz="14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weltweiten Standorte für rund zwei Wochen lahmlegten</a:t>
            </a: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, habe sich das Salzburger Unternehmen dazu entschieden, ein Lösegeld zu zahlen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0E7FD57-D53E-4435-982D-456EAB0A7130}"/>
              </a:ext>
            </a:extLst>
          </p:cNvPr>
          <p:cNvGrpSpPr/>
          <p:nvPr/>
        </p:nvGrpSpPr>
        <p:grpSpPr>
          <a:xfrm>
            <a:off x="954212" y="6455766"/>
            <a:ext cx="853200" cy="1105496"/>
            <a:chOff x="954212" y="6455766"/>
            <a:chExt cx="853200" cy="1105496"/>
          </a:xfrm>
        </p:grpSpPr>
        <p:sp>
          <p:nvSpPr>
            <p:cNvPr id="11" name="Freeform 147">
              <a:extLst>
                <a:ext uri="{FF2B5EF4-FFF2-40B4-BE49-F238E27FC236}">
                  <a16:creationId xmlns:a16="http://schemas.microsoft.com/office/drawing/2014/main" id="{2F61714D-7C7D-430D-9CD4-1C533370D1D9}"/>
                </a:ext>
              </a:extLst>
            </p:cNvPr>
            <p:cNvSpPr/>
            <p:nvPr/>
          </p:nvSpPr>
          <p:spPr>
            <a:xfrm rot="5400000" flipH="1">
              <a:off x="955001" y="6454977"/>
              <a:ext cx="851622" cy="853200"/>
            </a:xfrm>
            <a:custGeom>
              <a:avLst/>
              <a:gdLst/>
              <a:ahLst/>
              <a:cxnLst/>
              <a:rect l="0" t="0" r="0" b="0"/>
              <a:pathLst>
                <a:path w="1923896" h="1880920">
                  <a:moveTo>
                    <a:pt x="961948" y="1880920"/>
                  </a:moveTo>
                  <a:cubicBezTo>
                    <a:pt x="1493214" y="1880920"/>
                    <a:pt x="1923896" y="1459865"/>
                    <a:pt x="1923896" y="940460"/>
                  </a:cubicBezTo>
                  <a:cubicBezTo>
                    <a:pt x="1923896" y="421068"/>
                    <a:pt x="1493214" y="0"/>
                    <a:pt x="961948" y="0"/>
                  </a:cubicBezTo>
                  <a:cubicBezTo>
                    <a:pt x="430682" y="0"/>
                    <a:pt x="0" y="421068"/>
                    <a:pt x="0" y="940460"/>
                  </a:cubicBezTo>
                  <a:cubicBezTo>
                    <a:pt x="0" y="1459865"/>
                    <a:pt x="430682" y="1880920"/>
                    <a:pt x="961948" y="1880920"/>
                  </a:cubicBezTo>
                  <a:close/>
                </a:path>
              </a:pathLst>
            </a:custGeom>
            <a:noFill/>
            <a:ln w="19050" cap="flat" cmpd="sng">
              <a:solidFill>
                <a:srgbClr val="404040"/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/>
              </a:defPPr>
              <a:lvl1pPr marL="0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8312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6624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49370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3249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41561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98739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8186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6498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" name="Freeform 160">
              <a:extLst>
                <a:ext uri="{FF2B5EF4-FFF2-40B4-BE49-F238E27FC236}">
                  <a16:creationId xmlns:a16="http://schemas.microsoft.com/office/drawing/2014/main" id="{090E80EF-0F12-4F36-B67F-746D50551E60}"/>
                </a:ext>
              </a:extLst>
            </p:cNvPr>
            <p:cNvSpPr/>
            <p:nvPr/>
          </p:nvSpPr>
          <p:spPr>
            <a:xfrm rot="5400000" flipH="1" flipV="1">
              <a:off x="1060232" y="7240682"/>
              <a:ext cx="641160" cy="0"/>
            </a:xfrm>
            <a:custGeom>
              <a:avLst/>
              <a:gdLst/>
              <a:ahLst/>
              <a:cxnLst/>
              <a:rect l="0" t="0" r="0" b="0"/>
              <a:pathLst>
                <a:path w="3745064">
                  <a:moveTo>
                    <a:pt x="0" y="0"/>
                  </a:moveTo>
                  <a:lnTo>
                    <a:pt x="3745064" y="0"/>
                  </a:lnTo>
                </a:path>
              </a:pathLst>
            </a:custGeom>
            <a:noFill/>
            <a:ln w="19050" cap="flat" cmpd="sng">
              <a:solidFill>
                <a:srgbClr val="404040"/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/>
              </a:defPPr>
              <a:lvl1pPr marL="0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8312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6624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49370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3249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41561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98739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8186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6498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12000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Cybercrime- IT-Kriminalität als weltweit hochprofitables Geschäf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noProof="0" dirty="0"/>
              <a:t>Erfolgreiche Angriffe aus der Vergangenheit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02079" y="1763713"/>
            <a:ext cx="4489240" cy="33500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9E8790F-D424-4B2A-BA5B-19A91C644CE2}"/>
              </a:ext>
            </a:extLst>
          </p:cNvPr>
          <p:cNvGrpSpPr/>
          <p:nvPr/>
        </p:nvGrpSpPr>
        <p:grpSpPr>
          <a:xfrm>
            <a:off x="-6183" y="5366084"/>
            <a:ext cx="2002988" cy="832598"/>
            <a:chOff x="-672363" y="5366084"/>
            <a:chExt cx="2002988" cy="832598"/>
          </a:xfrm>
        </p:grpSpPr>
        <p:sp>
          <p:nvSpPr>
            <p:cNvPr id="7" name="Freeform 147">
              <a:extLst>
                <a:ext uri="{FF2B5EF4-FFF2-40B4-BE49-F238E27FC236}">
                  <a16:creationId xmlns:a16="http://schemas.microsoft.com/office/drawing/2014/main" id="{6958CF8F-ECCF-43D6-BC4F-3C0508579C56}"/>
                </a:ext>
              </a:extLst>
            </p:cNvPr>
            <p:cNvSpPr/>
            <p:nvPr/>
          </p:nvSpPr>
          <p:spPr>
            <a:xfrm>
              <a:off x="479003" y="5366084"/>
              <a:ext cx="851622" cy="832598"/>
            </a:xfrm>
            <a:custGeom>
              <a:avLst/>
              <a:gdLst/>
              <a:ahLst/>
              <a:cxnLst/>
              <a:rect l="0" t="0" r="0" b="0"/>
              <a:pathLst>
                <a:path w="1923896" h="1880920">
                  <a:moveTo>
                    <a:pt x="961948" y="1880920"/>
                  </a:moveTo>
                  <a:cubicBezTo>
                    <a:pt x="1493214" y="1880920"/>
                    <a:pt x="1923896" y="1459865"/>
                    <a:pt x="1923896" y="940460"/>
                  </a:cubicBezTo>
                  <a:cubicBezTo>
                    <a:pt x="1923896" y="421068"/>
                    <a:pt x="1493214" y="0"/>
                    <a:pt x="961948" y="0"/>
                  </a:cubicBezTo>
                  <a:cubicBezTo>
                    <a:pt x="430682" y="0"/>
                    <a:pt x="0" y="421068"/>
                    <a:pt x="0" y="940460"/>
                  </a:cubicBezTo>
                  <a:cubicBezTo>
                    <a:pt x="0" y="1459865"/>
                    <a:pt x="430682" y="1880920"/>
                    <a:pt x="961948" y="1880920"/>
                  </a:cubicBezTo>
                  <a:close/>
                </a:path>
              </a:pathLst>
            </a:custGeom>
            <a:noFill/>
            <a:ln w="19050" cap="flat" cmpd="sng">
              <a:solidFill>
                <a:srgbClr val="404040"/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8" name="Freeform 160">
              <a:extLst>
                <a:ext uri="{FF2B5EF4-FFF2-40B4-BE49-F238E27FC236}">
                  <a16:creationId xmlns:a16="http://schemas.microsoft.com/office/drawing/2014/main" id="{B2871731-94EE-4447-BA1E-3FBD56E164FA}"/>
                </a:ext>
              </a:extLst>
            </p:cNvPr>
            <p:cNvSpPr/>
            <p:nvPr/>
          </p:nvSpPr>
          <p:spPr>
            <a:xfrm flipV="1">
              <a:off x="-672363" y="5782381"/>
              <a:ext cx="1538651" cy="0"/>
            </a:xfrm>
            <a:custGeom>
              <a:avLst/>
              <a:gdLst/>
              <a:ahLst/>
              <a:cxnLst/>
              <a:rect l="0" t="0" r="0" b="0"/>
              <a:pathLst>
                <a:path w="3745064">
                  <a:moveTo>
                    <a:pt x="0" y="0"/>
                  </a:moveTo>
                  <a:lnTo>
                    <a:pt x="3745064" y="0"/>
                  </a:lnTo>
                </a:path>
              </a:pathLst>
            </a:custGeom>
            <a:noFill/>
            <a:ln w="19050" cap="flat" cmpd="sng">
              <a:solidFill>
                <a:srgbClr val="404040"/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D72860BE-7755-413C-9493-0607FE8515B9}"/>
              </a:ext>
            </a:extLst>
          </p:cNvPr>
          <p:cNvSpPr/>
          <p:nvPr/>
        </p:nvSpPr>
        <p:spPr>
          <a:xfrm>
            <a:off x="1532469" y="5366084"/>
            <a:ext cx="9160931" cy="1295062"/>
          </a:xfrm>
          <a:prstGeom prst="rect">
            <a:avLst/>
          </a:prstGeom>
          <a:solidFill>
            <a:srgbClr val="E0E5E9">
              <a:alpha val="9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76082" rIns="360000" bIns="760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2. Juni 2021, spätnachts</a:t>
            </a: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Bei Salzburg-Milch steht die Produktion.</a:t>
            </a:r>
          </a:p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. Juli 2021, 8:59 Uhr</a:t>
            </a: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: „Salzburgmilch GmbH nimmt nach massivem Cyberangriff wieder vollen Betrieb auf. […] Wir haben das System Schritt für Schritt neu aufgesetzt. </a:t>
            </a:r>
            <a:r>
              <a:rPr kumimoji="0" lang="de-AT" sz="14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as ist keine kleine Aufgabe</a:t>
            </a: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. Wir haben fast 400 Mitarbeiter und mussten nicht nur alle Server, sondern sämtliche Arbeitsgeräte und Laptops neu aufsetzen.“</a:t>
            </a:r>
          </a:p>
        </p:txBody>
      </p:sp>
    </p:spTree>
    <p:extLst>
      <p:ext uri="{BB962C8B-B14F-4D97-AF65-F5344CB8AC3E}">
        <p14:creationId xmlns:p14="http://schemas.microsoft.com/office/powerpoint/2010/main" val="32889357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>
            <a:extLst>
              <a:ext uri="{FF2B5EF4-FFF2-40B4-BE49-F238E27FC236}">
                <a16:creationId xmlns:a16="http://schemas.microsoft.com/office/drawing/2014/main" id="{59F895FD-AA24-4B43-8A46-D77DFE9F4B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073"/>
          <a:stretch/>
        </p:blipFill>
        <p:spPr>
          <a:xfrm>
            <a:off x="1646876" y="1951878"/>
            <a:ext cx="7396864" cy="30321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Inhalts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Cybercrime- IT-Kriminalität als weltweit hochprofitables Geschäft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817C6551-B197-46AD-BF27-16462F1395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br>
              <a:rPr lang="de-AT" sz="2400" dirty="0">
                <a:solidFill>
                  <a:srgbClr val="404040"/>
                </a:solidFill>
                <a:latin typeface="+mn-lt"/>
              </a:rPr>
            </a:br>
            <a:br>
              <a:rPr lang="de-AT" sz="2400" dirty="0">
                <a:solidFill>
                  <a:srgbClr val="404040"/>
                </a:solidFill>
                <a:latin typeface="+mn-lt"/>
              </a:rPr>
            </a:br>
            <a:r>
              <a:rPr lang="de-AT" sz="2400" dirty="0">
                <a:solidFill>
                  <a:srgbClr val="404040"/>
                </a:solidFill>
                <a:latin typeface="+mn-lt"/>
              </a:rPr>
              <a:t>Erfolgreiche Angriffe aus der Vergangenhei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72860BE-7755-413C-9493-0607FE8515B9}"/>
              </a:ext>
            </a:extLst>
          </p:cNvPr>
          <p:cNvSpPr/>
          <p:nvPr/>
        </p:nvSpPr>
        <p:spPr>
          <a:xfrm>
            <a:off x="1532469" y="5681384"/>
            <a:ext cx="9160931" cy="979761"/>
          </a:xfrm>
          <a:prstGeom prst="rect">
            <a:avLst/>
          </a:prstGeom>
          <a:solidFill>
            <a:srgbClr val="E0E5E9">
              <a:alpha val="9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76082" rIns="360000" bIns="760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as Institute </a:t>
            </a:r>
            <a:r>
              <a:rPr kumimoji="0" lang="de-AT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of</a:t>
            </a:r>
            <a:r>
              <a:rPr kumimoji="0" lang="de-AT" sz="14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Science and Technology Austria wurde am 2. November 2022 Angriff eines Cyberangriffs</a:t>
            </a:r>
            <a:r>
              <a:rPr lang="de-AT" sz="1400" i="1" dirty="0">
                <a:solidFill>
                  <a:srgbClr val="404040"/>
                </a:solidFill>
                <a:latin typeface="Trebuchet MS" panose="020B0603020202020204" pitchFamily="34" charset="0"/>
              </a:rPr>
              <a:t> und musste dadurch die gesamte Forschungseinrichtung vom Netz nehmen.</a:t>
            </a:r>
          </a:p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highlight>
                  <a:srgbClr val="FFFF00"/>
                </a:highlight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e Daten wurden durch die Hackergruppe “</a:t>
            </a:r>
            <a:r>
              <a:rPr kumimoji="0" lang="de-AT" sz="1400" b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highlight>
                  <a:srgbClr val="FFFF00"/>
                </a:highlight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Vice</a:t>
            </a:r>
            <a:r>
              <a:rPr kumimoji="0" lang="de-AT" sz="1400" b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highlight>
                  <a:srgbClr val="FFFF00"/>
                </a:highlight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Society” im Darknet veröffentlicht!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A75B5E0-9EBA-77C3-9DFB-F80EC7AB2990}"/>
              </a:ext>
            </a:extLst>
          </p:cNvPr>
          <p:cNvGrpSpPr/>
          <p:nvPr/>
        </p:nvGrpSpPr>
        <p:grpSpPr>
          <a:xfrm>
            <a:off x="954212" y="6455766"/>
            <a:ext cx="853200" cy="1105496"/>
            <a:chOff x="954212" y="6455766"/>
            <a:chExt cx="853200" cy="1105496"/>
          </a:xfrm>
        </p:grpSpPr>
        <p:sp>
          <p:nvSpPr>
            <p:cNvPr id="3" name="Freeform 147">
              <a:extLst>
                <a:ext uri="{FF2B5EF4-FFF2-40B4-BE49-F238E27FC236}">
                  <a16:creationId xmlns:a16="http://schemas.microsoft.com/office/drawing/2014/main" id="{24FCACD0-D052-1AB2-D939-AC0BDC99AB14}"/>
                </a:ext>
              </a:extLst>
            </p:cNvPr>
            <p:cNvSpPr/>
            <p:nvPr/>
          </p:nvSpPr>
          <p:spPr>
            <a:xfrm rot="5400000" flipH="1">
              <a:off x="955001" y="6454977"/>
              <a:ext cx="851622" cy="853200"/>
            </a:xfrm>
            <a:custGeom>
              <a:avLst/>
              <a:gdLst/>
              <a:ahLst/>
              <a:cxnLst/>
              <a:rect l="0" t="0" r="0" b="0"/>
              <a:pathLst>
                <a:path w="1923896" h="1880920">
                  <a:moveTo>
                    <a:pt x="961948" y="1880920"/>
                  </a:moveTo>
                  <a:cubicBezTo>
                    <a:pt x="1493214" y="1880920"/>
                    <a:pt x="1923896" y="1459865"/>
                    <a:pt x="1923896" y="940460"/>
                  </a:cubicBezTo>
                  <a:cubicBezTo>
                    <a:pt x="1923896" y="421068"/>
                    <a:pt x="1493214" y="0"/>
                    <a:pt x="961948" y="0"/>
                  </a:cubicBezTo>
                  <a:cubicBezTo>
                    <a:pt x="430682" y="0"/>
                    <a:pt x="0" y="421068"/>
                    <a:pt x="0" y="940460"/>
                  </a:cubicBezTo>
                  <a:cubicBezTo>
                    <a:pt x="0" y="1459865"/>
                    <a:pt x="430682" y="1880920"/>
                    <a:pt x="961948" y="1880920"/>
                  </a:cubicBezTo>
                  <a:close/>
                </a:path>
              </a:pathLst>
            </a:custGeom>
            <a:noFill/>
            <a:ln w="19050" cap="flat" cmpd="sng">
              <a:solidFill>
                <a:srgbClr val="404040"/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/>
              </a:defPPr>
              <a:lvl1pPr marL="0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8312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6624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49370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3249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41561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98739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8186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6498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" name="Freeform 160">
              <a:extLst>
                <a:ext uri="{FF2B5EF4-FFF2-40B4-BE49-F238E27FC236}">
                  <a16:creationId xmlns:a16="http://schemas.microsoft.com/office/drawing/2014/main" id="{08F6D3F1-EFE7-80E2-6755-ECAF923820F5}"/>
                </a:ext>
              </a:extLst>
            </p:cNvPr>
            <p:cNvSpPr/>
            <p:nvPr/>
          </p:nvSpPr>
          <p:spPr>
            <a:xfrm rot="5400000" flipH="1" flipV="1">
              <a:off x="1060232" y="7240682"/>
              <a:ext cx="641160" cy="0"/>
            </a:xfrm>
            <a:custGeom>
              <a:avLst/>
              <a:gdLst/>
              <a:ahLst/>
              <a:cxnLst/>
              <a:rect l="0" t="0" r="0" b="0"/>
              <a:pathLst>
                <a:path w="3745064">
                  <a:moveTo>
                    <a:pt x="0" y="0"/>
                  </a:moveTo>
                  <a:lnTo>
                    <a:pt x="3745064" y="0"/>
                  </a:lnTo>
                </a:path>
              </a:pathLst>
            </a:custGeom>
            <a:noFill/>
            <a:ln w="19050" cap="flat" cmpd="sng">
              <a:solidFill>
                <a:srgbClr val="404040"/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/>
              </a:defPPr>
              <a:lvl1pPr marL="0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8312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6624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49370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3249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41561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98739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81863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64986" algn="l" defTabSz="96624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23050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1429FDB-8AA4-202A-E999-3DA126BABF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Cybercrime- IT-Kriminalität als weltweit hochprofitables Geschäf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E0842AE-C0F6-40BF-9792-4AA1BFCF2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de-AT" sz="2400" dirty="0">
                <a:solidFill>
                  <a:srgbClr val="404040"/>
                </a:solidFill>
                <a:latin typeface="+mn-lt"/>
              </a:rPr>
            </a:br>
            <a:br>
              <a:rPr lang="de-AT" sz="2400" dirty="0">
                <a:solidFill>
                  <a:srgbClr val="404040"/>
                </a:solidFill>
                <a:latin typeface="+mn-lt"/>
              </a:rPr>
            </a:br>
            <a:r>
              <a:rPr lang="de-AT" sz="2400" dirty="0">
                <a:solidFill>
                  <a:srgbClr val="404040"/>
                </a:solidFill>
                <a:latin typeface="+mn-lt"/>
              </a:rPr>
              <a:t>Erfolgreiche Angriffe aus der Vergangenheit</a:t>
            </a:r>
            <a:endParaRPr lang="de-AT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71C4AA6-3130-654A-ADAF-3EC665516A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6854" y="1434161"/>
            <a:ext cx="5564108" cy="230238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EE0EA1A-B079-E401-D33B-B48F7EF846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753" y="3916230"/>
            <a:ext cx="5086310" cy="307801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4FE75E92-A9F6-463E-8524-09991E780F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8856" y="1441779"/>
            <a:ext cx="3932261" cy="4316342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26EADCAE-6CE0-6376-0A8D-67A445DE6E0B}"/>
              </a:ext>
            </a:extLst>
          </p:cNvPr>
          <p:cNvSpPr txBox="1"/>
          <p:nvPr/>
        </p:nvSpPr>
        <p:spPr>
          <a:xfrm>
            <a:off x="3212718" y="5729662"/>
            <a:ext cx="12241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AT" sz="700" dirty="0"/>
              <a:t>*Quelle: </a:t>
            </a:r>
            <a:r>
              <a:rPr lang="de-AT" sz="700" dirty="0" err="1"/>
              <a:t>Onion</a:t>
            </a:r>
            <a:r>
              <a:rPr lang="de-AT" sz="700" dirty="0"/>
              <a:t> Service</a:t>
            </a:r>
          </a:p>
        </p:txBody>
      </p:sp>
    </p:spTree>
    <p:extLst>
      <p:ext uri="{BB962C8B-B14F-4D97-AF65-F5344CB8AC3E}">
        <p14:creationId xmlns:p14="http://schemas.microsoft.com/office/powerpoint/2010/main" val="32237045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093D7AA-06E4-4333-8671-099823EDB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093D7AA-06E4-4333-8671-099823EDB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5E1B5088-310F-4183-A15A-7A72201C3A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Cybercrime- IT-Kriminalität als weltweit hochprofitables Geschäft</a:t>
            </a:r>
          </a:p>
          <a:p>
            <a:endParaRPr lang="de-A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5AEF457-BC16-4A75-AB56-7BF5BEF50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Weitere </a:t>
            </a:r>
            <a:r>
              <a:rPr lang="de-AT" dirty="0" err="1"/>
              <a:t>beispiele</a:t>
            </a:r>
            <a:r>
              <a:rPr lang="de-AT" dirty="0"/>
              <a:t> aus dem Bereich KMU</a:t>
            </a:r>
          </a:p>
        </p:txBody>
      </p:sp>
      <p:sp>
        <p:nvSpPr>
          <p:cNvPr id="9" name="Textplatzhalter 17">
            <a:extLst>
              <a:ext uri="{FF2B5EF4-FFF2-40B4-BE49-F238E27FC236}">
                <a16:creationId xmlns:a16="http://schemas.microsoft.com/office/drawing/2014/main" id="{F084FF6F-7193-4041-8C83-13869A74957A}"/>
              </a:ext>
            </a:extLst>
          </p:cNvPr>
          <p:cNvSpPr txBox="1">
            <a:spLocks/>
          </p:cNvSpPr>
          <p:nvPr/>
        </p:nvSpPr>
        <p:spPr>
          <a:xfrm>
            <a:off x="410400" y="1763714"/>
            <a:ext cx="2848738" cy="792000"/>
          </a:xfrm>
          <a:prstGeom prst="homePlate">
            <a:avLst>
              <a:gd name="adj" fmla="val 16459"/>
            </a:avLst>
          </a:prstGeom>
          <a:solidFill>
            <a:srgbClr val="E0E5E9"/>
          </a:solidFill>
          <a:ln>
            <a:noFill/>
          </a:ln>
          <a:effectLst/>
        </p:spPr>
        <p:txBody>
          <a:bodyPr lIns="108000" tIns="108000" rIns="36000" bIns="46800" anchor="ctr" anchorCtr="0"/>
          <a:lstStyle>
            <a:lvl1pPr marL="0" marR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None/>
              <a:tabLst/>
              <a:defRPr kumimoji="0" lang="de-A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Symbol" pitchFamily="18" charset="2"/>
              <a:buChar char="-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Symbol" pitchFamily="18" charset="2"/>
              <a:buChar char="-"/>
              <a:defRPr sz="16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Symbol" pitchFamily="18" charset="2"/>
              <a:buChar char="-"/>
              <a:tabLst>
                <a:tab pos="759913" algn="l"/>
              </a:tabLst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Transportunternehmen</a:t>
            </a:r>
          </a:p>
        </p:txBody>
      </p:sp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88521A71-B939-45C1-A155-4E5FE90A5B48}"/>
              </a:ext>
            </a:extLst>
          </p:cNvPr>
          <p:cNvSpPr txBox="1">
            <a:spLocks/>
          </p:cNvSpPr>
          <p:nvPr/>
        </p:nvSpPr>
        <p:spPr>
          <a:xfrm>
            <a:off x="410400" y="2789238"/>
            <a:ext cx="2848738" cy="792000"/>
          </a:xfrm>
          <a:prstGeom prst="homePlate">
            <a:avLst>
              <a:gd name="adj" fmla="val 16459"/>
            </a:avLst>
          </a:prstGeom>
          <a:solidFill>
            <a:srgbClr val="E0E5E9"/>
          </a:solidFill>
          <a:ln>
            <a:noFill/>
          </a:ln>
          <a:effectLst/>
        </p:spPr>
        <p:txBody>
          <a:bodyPr lIns="108000" tIns="108000" rIns="36000" bIns="46800" anchor="ctr" anchorCtr="0"/>
          <a:lstStyle>
            <a:lvl1pPr marL="0" marR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None/>
              <a:tabLst/>
              <a:defRPr kumimoji="0" lang="de-A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Symbol" pitchFamily="18" charset="2"/>
              <a:buChar char="-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Symbol" pitchFamily="18" charset="2"/>
              <a:buChar char="-"/>
              <a:defRPr sz="16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Symbol" pitchFamily="18" charset="2"/>
              <a:buChar char="-"/>
              <a:tabLst>
                <a:tab pos="759913" algn="l"/>
              </a:tabLst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dirty="0"/>
              <a:t>Steuerberatungskanzlei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014F210F-2885-42DA-8F11-0190F4B1D227}"/>
              </a:ext>
            </a:extLst>
          </p:cNvPr>
          <p:cNvSpPr txBox="1">
            <a:spLocks/>
          </p:cNvSpPr>
          <p:nvPr/>
        </p:nvSpPr>
        <p:spPr>
          <a:xfrm>
            <a:off x="410400" y="3816350"/>
            <a:ext cx="2848738" cy="792000"/>
          </a:xfrm>
          <a:prstGeom prst="homePlate">
            <a:avLst>
              <a:gd name="adj" fmla="val 16459"/>
            </a:avLst>
          </a:prstGeom>
          <a:solidFill>
            <a:srgbClr val="E0E5E9"/>
          </a:solidFill>
          <a:ln>
            <a:noFill/>
          </a:ln>
          <a:effectLst/>
        </p:spPr>
        <p:txBody>
          <a:bodyPr lIns="108000" tIns="108000" rIns="36000" bIns="46800" anchor="ctr" anchorCtr="0"/>
          <a:lstStyle>
            <a:lvl1pPr marL="0" marR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None/>
              <a:tabLst/>
              <a:defRPr kumimoji="0" lang="de-A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Symbol" pitchFamily="18" charset="2"/>
              <a:buChar char="-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Symbol" pitchFamily="18" charset="2"/>
              <a:buChar char="-"/>
              <a:defRPr sz="16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Symbol" pitchFamily="18" charset="2"/>
              <a:buChar char="-"/>
              <a:tabLst>
                <a:tab pos="759913" algn="l"/>
              </a:tabLst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Internist</a:t>
            </a:r>
          </a:p>
        </p:txBody>
      </p:sp>
      <p:sp>
        <p:nvSpPr>
          <p:cNvPr id="12" name="Textplatzhalter 17">
            <a:extLst>
              <a:ext uri="{FF2B5EF4-FFF2-40B4-BE49-F238E27FC236}">
                <a16:creationId xmlns:a16="http://schemas.microsoft.com/office/drawing/2014/main" id="{CB152DA6-6FE1-468E-A24C-730836875A0E}"/>
              </a:ext>
            </a:extLst>
          </p:cNvPr>
          <p:cNvSpPr txBox="1">
            <a:spLocks/>
          </p:cNvSpPr>
          <p:nvPr/>
        </p:nvSpPr>
        <p:spPr>
          <a:xfrm>
            <a:off x="410400" y="4841875"/>
            <a:ext cx="2848738" cy="792000"/>
          </a:xfrm>
          <a:prstGeom prst="homePlate">
            <a:avLst>
              <a:gd name="adj" fmla="val 16459"/>
            </a:avLst>
          </a:prstGeom>
          <a:solidFill>
            <a:srgbClr val="E0E5E9"/>
          </a:solidFill>
          <a:ln>
            <a:noFill/>
          </a:ln>
          <a:effectLst/>
        </p:spPr>
        <p:txBody>
          <a:bodyPr lIns="108000" tIns="108000" rIns="36000" bIns="46800" anchor="ctr" anchorCtr="0"/>
          <a:lstStyle>
            <a:lvl1pPr marL="0" marR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None/>
              <a:tabLst/>
              <a:defRPr kumimoji="0" lang="de-A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Symbol" pitchFamily="18" charset="2"/>
              <a:buChar char="-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Symbol" pitchFamily="18" charset="2"/>
              <a:buChar char="-"/>
              <a:defRPr sz="16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Symbol" pitchFamily="18" charset="2"/>
              <a:buChar char="-"/>
              <a:tabLst>
                <a:tab pos="759913" algn="l"/>
              </a:tabLst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Anwaltskanzlei</a:t>
            </a:r>
          </a:p>
        </p:txBody>
      </p:sp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92385256-454F-44CC-AC94-EE034CEE7CD0}"/>
              </a:ext>
            </a:extLst>
          </p:cNvPr>
          <p:cNvSpPr txBox="1">
            <a:spLocks/>
          </p:cNvSpPr>
          <p:nvPr/>
        </p:nvSpPr>
        <p:spPr>
          <a:xfrm>
            <a:off x="396875" y="5869150"/>
            <a:ext cx="2848738" cy="792000"/>
          </a:xfrm>
          <a:prstGeom prst="homePlate">
            <a:avLst>
              <a:gd name="adj" fmla="val 16459"/>
            </a:avLst>
          </a:prstGeom>
          <a:solidFill>
            <a:srgbClr val="E0E5E9"/>
          </a:solidFill>
          <a:ln>
            <a:noFill/>
          </a:ln>
          <a:effectLst/>
        </p:spPr>
        <p:txBody>
          <a:bodyPr lIns="108000" tIns="108000" rIns="36000" bIns="46800" anchor="ctr" anchorCtr="0"/>
          <a:lstStyle>
            <a:lvl1pPr marL="0" marR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None/>
              <a:tabLst/>
              <a:defRPr kumimoji="0" lang="de-A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Symbol" pitchFamily="18" charset="2"/>
              <a:buChar char="-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Symbol" pitchFamily="18" charset="2"/>
              <a:buChar char="-"/>
              <a:defRPr sz="16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Symbol" pitchFamily="18" charset="2"/>
              <a:buChar char="-"/>
              <a:tabLst>
                <a:tab pos="759913" algn="l"/>
              </a:tabLst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Hotellerie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56E833A0-8C2F-4DB5-B57F-B37F380FCFBB}"/>
              </a:ext>
            </a:extLst>
          </p:cNvPr>
          <p:cNvSpPr txBox="1">
            <a:spLocks/>
          </p:cNvSpPr>
          <p:nvPr/>
        </p:nvSpPr>
        <p:spPr>
          <a:xfrm>
            <a:off x="3408042" y="1771860"/>
            <a:ext cx="6891657" cy="783854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/>
            </a:defPPr>
            <a:lvl1pPr marL="252000" marR="0" lvl="0" indent="-252000" defTabSz="1008044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</a:defRPr>
            </a:lvl1pPr>
            <a:lvl2pPr marL="488950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sz="14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</a:defRPr>
            </a:lvl2pPr>
            <a:lvl3pPr marL="738188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sz="12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</a:defRPr>
            </a:lvl3pPr>
            <a:lvl4pPr marL="992188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>
                <a:latin typeface="Trebuchet MS" panose="020B0603020202020204" pitchFamily="34" charset="0"/>
                <a:cs typeface="Arial" pitchFamily="34" charset="0"/>
              </a:defRPr>
            </a:lvl4pPr>
            <a:lvl5pPr marL="1227138" indent="-2413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>
                <a:latin typeface="Trebuchet MS" panose="020B0603020202020204" pitchFamily="34" charset="0"/>
                <a:cs typeface="Arial" pitchFamily="34" charset="0"/>
              </a:defRPr>
            </a:lvl5pPr>
            <a:lvl6pPr marL="288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baseline="0">
                <a:latin typeface="Trebuchet MS" panose="020B0603020202020204" pitchFamily="34" charset="0"/>
                <a:cs typeface="Arial" pitchFamily="34" charset="0"/>
              </a:defRPr>
            </a:lvl6pPr>
            <a:lvl7pPr marL="432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>
                <a:latin typeface="Trebuchet MS" panose="020B0603020202020204" pitchFamily="34" charset="0"/>
                <a:cs typeface="Arial" pitchFamily="34" charset="0"/>
              </a:defRPr>
            </a:lvl7pPr>
            <a:lvl8pPr marL="576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>
                <a:latin typeface="Trebuchet MS" panose="020B0603020202020204" pitchFamily="34" charset="0"/>
                <a:cs typeface="Arial" pitchFamily="34" charset="0"/>
              </a:defRPr>
            </a:lvl8pPr>
            <a:lvl9pPr marL="720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baseline="0">
                <a:latin typeface="Trebuchet MS" panose="020B0603020202020204" pitchFamily="34" charset="0"/>
                <a:cs typeface="Arial" pitchFamily="34" charset="0"/>
              </a:defRPr>
            </a:lvl9pPr>
          </a:lstStyle>
          <a:p>
            <a:r>
              <a:rPr lang="de-AT" dirty="0">
                <a:sym typeface="Arial"/>
              </a:rPr>
              <a:t>Transportunternehmer wechselt Passwörter nicht nachdem Mitarbeiter im Streit gegangen ist, kurz darauf ist bestimmte Software nicht verfügbar und Daten fehlen</a:t>
            </a:r>
          </a:p>
          <a:p>
            <a:r>
              <a:rPr lang="de-AT" dirty="0">
                <a:sym typeface="Arial"/>
              </a:rPr>
              <a:t>versicherter </a:t>
            </a:r>
            <a:r>
              <a:rPr lang="de-AT" b="1" dirty="0">
                <a:sym typeface="Arial"/>
              </a:rPr>
              <a:t>Schaden ca. 45.000,– EUR</a:t>
            </a:r>
          </a:p>
          <a:p>
            <a:endParaRPr lang="de-AT" dirty="0">
              <a:sym typeface="Arial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D1F4BF8-1307-4D3D-85A7-887212D30393}"/>
              </a:ext>
            </a:extLst>
          </p:cNvPr>
          <p:cNvSpPr txBox="1">
            <a:spLocks/>
          </p:cNvSpPr>
          <p:nvPr/>
        </p:nvSpPr>
        <p:spPr>
          <a:xfrm>
            <a:off x="3408042" y="2789238"/>
            <a:ext cx="6891657" cy="783854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/>
            </a:defPPr>
            <a:lvl1pPr marL="252000" marR="0" lvl="0" indent="-252000" defTabSz="1008044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</a:defRPr>
            </a:lvl1pPr>
            <a:lvl2pPr marL="488950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sz="14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</a:defRPr>
            </a:lvl2pPr>
            <a:lvl3pPr marL="738188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sz="12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</a:defRPr>
            </a:lvl3pPr>
            <a:lvl4pPr marL="992188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>
                <a:latin typeface="Trebuchet MS" panose="020B0603020202020204" pitchFamily="34" charset="0"/>
                <a:cs typeface="Arial" pitchFamily="34" charset="0"/>
              </a:defRPr>
            </a:lvl4pPr>
            <a:lvl5pPr marL="1227138" indent="-2413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>
                <a:latin typeface="Trebuchet MS" panose="020B0603020202020204" pitchFamily="34" charset="0"/>
                <a:cs typeface="Arial" pitchFamily="34" charset="0"/>
              </a:defRPr>
            </a:lvl5pPr>
            <a:lvl6pPr marL="288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baseline="0">
                <a:latin typeface="Trebuchet MS" panose="020B0603020202020204" pitchFamily="34" charset="0"/>
                <a:cs typeface="Arial" pitchFamily="34" charset="0"/>
              </a:defRPr>
            </a:lvl6pPr>
            <a:lvl7pPr marL="432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>
                <a:latin typeface="Trebuchet MS" panose="020B0603020202020204" pitchFamily="34" charset="0"/>
                <a:cs typeface="Arial" pitchFamily="34" charset="0"/>
              </a:defRPr>
            </a:lvl7pPr>
            <a:lvl8pPr marL="576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>
                <a:latin typeface="Trebuchet MS" panose="020B0603020202020204" pitchFamily="34" charset="0"/>
                <a:cs typeface="Arial" pitchFamily="34" charset="0"/>
              </a:defRPr>
            </a:lvl8pPr>
            <a:lvl9pPr marL="720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baseline="0">
                <a:latin typeface="Trebuchet MS" panose="020B0603020202020204" pitchFamily="34" charset="0"/>
                <a:cs typeface="Arial" pitchFamily="34" charset="0"/>
              </a:defRPr>
            </a:lvl9pPr>
          </a:lstStyle>
          <a:p>
            <a:r>
              <a:rPr lang="de-AT" dirty="0">
                <a:sym typeface="Arial"/>
              </a:rPr>
              <a:t>IT-Systeme wurden durch ein Schadprogramm funktionsunfähig</a:t>
            </a:r>
          </a:p>
          <a:p>
            <a:r>
              <a:rPr lang="de-AT" dirty="0">
                <a:sym typeface="Arial"/>
              </a:rPr>
              <a:t>versicherter </a:t>
            </a:r>
            <a:r>
              <a:rPr lang="de-AT" b="1" dirty="0">
                <a:sym typeface="Arial"/>
              </a:rPr>
              <a:t>Schaden ca. 137.000,– EUR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BC9B8AA6-20C6-4F88-9447-9E8D16BA566F}"/>
              </a:ext>
            </a:extLst>
          </p:cNvPr>
          <p:cNvSpPr txBox="1">
            <a:spLocks/>
          </p:cNvSpPr>
          <p:nvPr/>
        </p:nvSpPr>
        <p:spPr>
          <a:xfrm>
            <a:off x="3408042" y="3806616"/>
            <a:ext cx="6891657" cy="793588"/>
          </a:xfrm>
          <a:prstGeom prst="rect">
            <a:avLst/>
          </a:prstGeom>
        </p:spPr>
        <p:txBody>
          <a:bodyPr lIns="0" tIns="0" rIns="0" bIns="0" anchor="t"/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Ordinationsassistentin klickte versehentlich auf einen E-Mail Anhang, enthielt Trojaner 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Wingdings" panose="05000000000000000000" pitchFamily="2" charset="2"/>
              </a:rPr>
              <a:t> verschlüsselte alle Dateien der Praxis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versicherter </a:t>
            </a:r>
            <a:r>
              <a: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Schaden ca. 25.000,– EUR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5001F3F4-F345-4D98-BC6D-F24FB0CDA968}"/>
              </a:ext>
            </a:extLst>
          </p:cNvPr>
          <p:cNvSpPr txBox="1">
            <a:spLocks/>
          </p:cNvSpPr>
          <p:nvPr/>
        </p:nvSpPr>
        <p:spPr>
          <a:xfrm>
            <a:off x="3408042" y="4832141"/>
            <a:ext cx="6891657" cy="793588"/>
          </a:xfrm>
          <a:prstGeom prst="rect">
            <a:avLst/>
          </a:prstGeom>
        </p:spPr>
        <p:txBody>
          <a:bodyPr lIns="0" tIns="0" rIns="0" bIns="0" anchor="t"/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IT-Systeme wurden durch ein Schadprogramm funktionsunfähig 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Wiederherstellung dauerte über drei Monate</a:t>
            </a:r>
          </a:p>
          <a:p>
            <a:pPr>
              <a:defRPr/>
            </a:pPr>
            <a:r>
              <a: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Betriebsunterbrechungsschaden ca. 300.000,– EUR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955E0908-1ACD-4817-9BB5-C947DF550621}"/>
              </a:ext>
            </a:extLst>
          </p:cNvPr>
          <p:cNvSpPr txBox="1">
            <a:spLocks/>
          </p:cNvSpPr>
          <p:nvPr/>
        </p:nvSpPr>
        <p:spPr>
          <a:xfrm>
            <a:off x="3408042" y="5869150"/>
            <a:ext cx="6891657" cy="783854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/>
            </a:defPPr>
            <a:lvl1pPr marL="252000" marR="0" indent="-252000" defTabSz="1008044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</a:defRPr>
            </a:lvl1pPr>
            <a:lvl2pPr marL="488950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sz="14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</a:defRPr>
            </a:lvl2pPr>
            <a:lvl3pPr marL="738188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sz="12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</a:defRPr>
            </a:lvl3pPr>
            <a:lvl4pPr marL="992188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>
                <a:latin typeface="Trebuchet MS" panose="020B0603020202020204" pitchFamily="34" charset="0"/>
                <a:cs typeface="Arial" pitchFamily="34" charset="0"/>
              </a:defRPr>
            </a:lvl4pPr>
            <a:lvl5pPr marL="1227138" indent="-2413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>
                <a:latin typeface="Trebuchet MS" panose="020B0603020202020204" pitchFamily="34" charset="0"/>
                <a:cs typeface="Arial" pitchFamily="34" charset="0"/>
              </a:defRPr>
            </a:lvl5pPr>
            <a:lvl6pPr marL="288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baseline="0">
                <a:latin typeface="Trebuchet MS" panose="020B0603020202020204" pitchFamily="34" charset="0"/>
                <a:cs typeface="Arial" pitchFamily="34" charset="0"/>
              </a:defRPr>
            </a:lvl6pPr>
            <a:lvl7pPr marL="432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>
                <a:latin typeface="Trebuchet MS" panose="020B0603020202020204" pitchFamily="34" charset="0"/>
                <a:cs typeface="Arial" pitchFamily="34" charset="0"/>
              </a:defRPr>
            </a:lvl7pPr>
            <a:lvl8pPr marL="576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>
                <a:latin typeface="Trebuchet MS" panose="020B0603020202020204" pitchFamily="34" charset="0"/>
                <a:cs typeface="Arial" pitchFamily="34" charset="0"/>
              </a:defRPr>
            </a:lvl8pPr>
            <a:lvl9pPr marL="720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baseline="0">
                <a:latin typeface="Trebuchet MS" panose="020B0603020202020204" pitchFamily="34" charset="0"/>
                <a:cs typeface="Arial" pitchFamily="34" charset="0"/>
              </a:defRPr>
            </a:lvl9pPr>
          </a:lstStyle>
          <a:p>
            <a:r>
              <a:rPr lang="de-AT" dirty="0">
                <a:sym typeface="Arial"/>
              </a:rPr>
              <a:t>Hotel Jägerwirt wird insgesamt 4-mal Ziel einer Ransomware-Attacke (3x wird bezahlt…)</a:t>
            </a:r>
          </a:p>
          <a:p>
            <a:r>
              <a:rPr lang="de-AT" dirty="0">
                <a:sym typeface="Arial"/>
              </a:rPr>
              <a:t>Upgrade Computersicherheit </a:t>
            </a:r>
            <a:r>
              <a:rPr lang="de-AT" b="1" dirty="0">
                <a:sym typeface="Arial"/>
              </a:rPr>
              <a:t>kostete 10.000,– Euro</a:t>
            </a:r>
          </a:p>
        </p:txBody>
      </p:sp>
    </p:spTree>
    <p:extLst>
      <p:ext uri="{BB962C8B-B14F-4D97-AF65-F5344CB8AC3E}">
        <p14:creationId xmlns:p14="http://schemas.microsoft.com/office/powerpoint/2010/main" val="2409504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886CC73-CB29-45CE-9EF7-BC6001535F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886CC73-CB29-45CE-9EF7-BC6001535F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5191B7D9-CF52-4ACE-83B2-7E667CC2503D}"/>
              </a:ext>
            </a:extLst>
          </p:cNvPr>
          <p:cNvGrpSpPr/>
          <p:nvPr/>
        </p:nvGrpSpPr>
        <p:grpSpPr>
          <a:xfrm>
            <a:off x="1746300" y="3074333"/>
            <a:ext cx="1503753" cy="1211428"/>
            <a:chOff x="1746300" y="1777115"/>
            <a:chExt cx="1503753" cy="1211428"/>
          </a:xfrm>
        </p:grpSpPr>
        <p:sp>
          <p:nvSpPr>
            <p:cNvPr id="46" name="Ellipse 27">
              <a:extLst>
                <a:ext uri="{FF2B5EF4-FFF2-40B4-BE49-F238E27FC236}">
                  <a16:creationId xmlns:a16="http://schemas.microsoft.com/office/drawing/2014/main" id="{8F14EBFC-69E1-4CCE-B688-096452B83105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1746300" y="2123155"/>
              <a:ext cx="865390" cy="865388"/>
            </a:xfrm>
            <a:prstGeom prst="ellipse">
              <a:avLst/>
            </a:prstGeom>
            <a:solidFill>
              <a:srgbClr val="E0E5E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47" name="Bogen 46">
              <a:extLst>
                <a:ext uri="{FF2B5EF4-FFF2-40B4-BE49-F238E27FC236}">
                  <a16:creationId xmlns:a16="http://schemas.microsoft.com/office/drawing/2014/main" id="{79002C68-4E97-4CD5-A5A8-0B2082D39AFC}"/>
                </a:ext>
              </a:extLst>
            </p:cNvPr>
            <p:cNvSpPr/>
            <p:nvPr/>
          </p:nvSpPr>
          <p:spPr>
            <a:xfrm flipH="1">
              <a:off x="1870161" y="1777115"/>
              <a:ext cx="980160" cy="980158"/>
            </a:xfrm>
            <a:prstGeom prst="arc">
              <a:avLst>
                <a:gd name="adj1" fmla="val 3099742"/>
                <a:gd name="adj2" fmla="val 18885834"/>
              </a:avLst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48" name="Gerader Verbinder 12">
              <a:extLst>
                <a:ext uri="{FF2B5EF4-FFF2-40B4-BE49-F238E27FC236}">
                  <a16:creationId xmlns:a16="http://schemas.microsoft.com/office/drawing/2014/main" id="{F51B6CD8-60F2-49F8-9C62-2C68CA01F4F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50321" y="2267194"/>
              <a:ext cx="399732" cy="0"/>
            </a:xfrm>
            <a:prstGeom prst="line">
              <a:avLst/>
            </a:prstGeom>
            <a:ln w="19050">
              <a:solidFill>
                <a:srgbClr val="3440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96EC55FE-45AA-4293-8A19-F3B228BCB561}"/>
              </a:ext>
            </a:extLst>
          </p:cNvPr>
          <p:cNvGrpSpPr/>
          <p:nvPr/>
        </p:nvGrpSpPr>
        <p:grpSpPr>
          <a:xfrm>
            <a:off x="1746300" y="1777115"/>
            <a:ext cx="1503753" cy="1211428"/>
            <a:chOff x="1746300" y="1777115"/>
            <a:chExt cx="1503753" cy="1211428"/>
          </a:xfrm>
        </p:grpSpPr>
        <p:sp>
          <p:nvSpPr>
            <p:cNvPr id="50" name="Ellipse 27">
              <a:extLst>
                <a:ext uri="{FF2B5EF4-FFF2-40B4-BE49-F238E27FC236}">
                  <a16:creationId xmlns:a16="http://schemas.microsoft.com/office/drawing/2014/main" id="{1A02F6DB-798E-490F-87EC-3090147F19CF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1746300" y="2123155"/>
              <a:ext cx="865390" cy="865388"/>
            </a:xfrm>
            <a:prstGeom prst="ellipse">
              <a:avLst/>
            </a:prstGeom>
            <a:solidFill>
              <a:srgbClr val="E0E5E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Bogen 50">
              <a:extLst>
                <a:ext uri="{FF2B5EF4-FFF2-40B4-BE49-F238E27FC236}">
                  <a16:creationId xmlns:a16="http://schemas.microsoft.com/office/drawing/2014/main" id="{A2E2E407-E736-458B-AA63-56AE0A6052CD}"/>
                </a:ext>
              </a:extLst>
            </p:cNvPr>
            <p:cNvSpPr/>
            <p:nvPr/>
          </p:nvSpPr>
          <p:spPr>
            <a:xfrm flipH="1">
              <a:off x="1870161" y="1777115"/>
              <a:ext cx="980160" cy="980158"/>
            </a:xfrm>
            <a:prstGeom prst="arc">
              <a:avLst>
                <a:gd name="adj1" fmla="val 3099742"/>
                <a:gd name="adj2" fmla="val 18885834"/>
              </a:avLst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52" name="Gerader Verbinder 12">
              <a:extLst>
                <a:ext uri="{FF2B5EF4-FFF2-40B4-BE49-F238E27FC236}">
                  <a16:creationId xmlns:a16="http://schemas.microsoft.com/office/drawing/2014/main" id="{17A3F7D3-5BC3-446C-9B1C-A031D4067F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50321" y="2267194"/>
              <a:ext cx="399732" cy="0"/>
            </a:xfrm>
            <a:prstGeom prst="line">
              <a:avLst/>
            </a:prstGeom>
            <a:ln w="19050">
              <a:solidFill>
                <a:srgbClr val="3440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7C7F7646-B1B5-4287-8C18-47E338DC4755}"/>
              </a:ext>
            </a:extLst>
          </p:cNvPr>
          <p:cNvGrpSpPr/>
          <p:nvPr/>
        </p:nvGrpSpPr>
        <p:grpSpPr>
          <a:xfrm>
            <a:off x="1746300" y="5668769"/>
            <a:ext cx="1503753" cy="1211428"/>
            <a:chOff x="1746300" y="1777115"/>
            <a:chExt cx="1503753" cy="1211428"/>
          </a:xfrm>
        </p:grpSpPr>
        <p:sp>
          <p:nvSpPr>
            <p:cNvPr id="54" name="Ellipse 27">
              <a:extLst>
                <a:ext uri="{FF2B5EF4-FFF2-40B4-BE49-F238E27FC236}">
                  <a16:creationId xmlns:a16="http://schemas.microsoft.com/office/drawing/2014/main" id="{4EF3E479-A0D0-4D56-B69E-F355A571EAFB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1746300" y="2123155"/>
              <a:ext cx="865390" cy="865388"/>
            </a:xfrm>
            <a:prstGeom prst="ellipse">
              <a:avLst/>
            </a:prstGeom>
            <a:solidFill>
              <a:srgbClr val="E0E5E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55" name="Bogen 54">
              <a:extLst>
                <a:ext uri="{FF2B5EF4-FFF2-40B4-BE49-F238E27FC236}">
                  <a16:creationId xmlns:a16="http://schemas.microsoft.com/office/drawing/2014/main" id="{8912594B-D52F-4CD1-9169-FCFDE84B1A37}"/>
                </a:ext>
              </a:extLst>
            </p:cNvPr>
            <p:cNvSpPr/>
            <p:nvPr/>
          </p:nvSpPr>
          <p:spPr>
            <a:xfrm flipH="1">
              <a:off x="1870161" y="1777115"/>
              <a:ext cx="980160" cy="980158"/>
            </a:xfrm>
            <a:prstGeom prst="arc">
              <a:avLst>
                <a:gd name="adj1" fmla="val 3099742"/>
                <a:gd name="adj2" fmla="val 18885834"/>
              </a:avLst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56" name="Gerader Verbinder 12">
              <a:extLst>
                <a:ext uri="{FF2B5EF4-FFF2-40B4-BE49-F238E27FC236}">
                  <a16:creationId xmlns:a16="http://schemas.microsoft.com/office/drawing/2014/main" id="{3379EADC-9F09-4DA5-83EB-2ABF01A48FC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50321" y="2267194"/>
              <a:ext cx="399732" cy="0"/>
            </a:xfrm>
            <a:prstGeom prst="line">
              <a:avLst/>
            </a:prstGeom>
            <a:ln w="19050">
              <a:solidFill>
                <a:srgbClr val="3440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81BA46F6-A731-45F9-83BE-F188350BED0C}"/>
              </a:ext>
            </a:extLst>
          </p:cNvPr>
          <p:cNvGrpSpPr/>
          <p:nvPr/>
        </p:nvGrpSpPr>
        <p:grpSpPr>
          <a:xfrm>
            <a:off x="1746300" y="4371551"/>
            <a:ext cx="1503753" cy="1211428"/>
            <a:chOff x="1746300" y="1777115"/>
            <a:chExt cx="1503753" cy="1211428"/>
          </a:xfrm>
        </p:grpSpPr>
        <p:sp>
          <p:nvSpPr>
            <p:cNvPr id="58" name="Ellipse 27">
              <a:extLst>
                <a:ext uri="{FF2B5EF4-FFF2-40B4-BE49-F238E27FC236}">
                  <a16:creationId xmlns:a16="http://schemas.microsoft.com/office/drawing/2014/main" id="{A16C8A45-5085-4307-831F-E121A10A64A8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1746300" y="2123155"/>
              <a:ext cx="865390" cy="865388"/>
            </a:xfrm>
            <a:prstGeom prst="ellipse">
              <a:avLst/>
            </a:prstGeom>
            <a:solidFill>
              <a:srgbClr val="E0E5E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59" name="Bogen 58">
              <a:extLst>
                <a:ext uri="{FF2B5EF4-FFF2-40B4-BE49-F238E27FC236}">
                  <a16:creationId xmlns:a16="http://schemas.microsoft.com/office/drawing/2014/main" id="{D1388581-8198-4425-A475-BEC4DC96F5ED}"/>
                </a:ext>
              </a:extLst>
            </p:cNvPr>
            <p:cNvSpPr/>
            <p:nvPr/>
          </p:nvSpPr>
          <p:spPr>
            <a:xfrm flipH="1">
              <a:off x="1870161" y="1777115"/>
              <a:ext cx="980160" cy="980158"/>
            </a:xfrm>
            <a:prstGeom prst="arc">
              <a:avLst>
                <a:gd name="adj1" fmla="val 3099742"/>
                <a:gd name="adj2" fmla="val 18885834"/>
              </a:avLst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60" name="Gerader Verbinder 12">
              <a:extLst>
                <a:ext uri="{FF2B5EF4-FFF2-40B4-BE49-F238E27FC236}">
                  <a16:creationId xmlns:a16="http://schemas.microsoft.com/office/drawing/2014/main" id="{DF2F0875-4716-43E8-A74B-E2FC62DA40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50321" y="2267194"/>
              <a:ext cx="399732" cy="0"/>
            </a:xfrm>
            <a:prstGeom prst="line">
              <a:avLst/>
            </a:prstGeom>
            <a:ln w="19050">
              <a:solidFill>
                <a:srgbClr val="3440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C4DA0C9-28BB-43B0-8742-C3DDA5E74A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8856" y="1027603"/>
            <a:ext cx="9900000" cy="226878"/>
          </a:xfrm>
        </p:spPr>
        <p:txBody>
          <a:bodyPr/>
          <a:lstStyle/>
          <a:p>
            <a:r>
              <a:rPr lang="de-AT" dirty="0" err="1"/>
              <a:t>Cyber</a:t>
            </a:r>
            <a:r>
              <a:rPr lang="de-AT" dirty="0"/>
              <a:t> Crime - IT-Kriminalität als weltweit hochprofitables Geschäft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212EF86-437D-4DFC-853F-14B5EF408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856" y="0"/>
            <a:ext cx="9892905" cy="971548"/>
          </a:xfrm>
        </p:spPr>
        <p:txBody>
          <a:bodyPr vert="horz"/>
          <a:lstStyle/>
          <a:p>
            <a:r>
              <a:rPr lang="de-AT" dirty="0"/>
              <a:t>covid-19 – Katalysator für Cyberkriminalität</a:t>
            </a: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FFDF68C4-4F3A-4973-8FB7-A0BD704F4394}"/>
              </a:ext>
            </a:extLst>
          </p:cNvPr>
          <p:cNvSpPr txBox="1"/>
          <p:nvPr/>
        </p:nvSpPr>
        <p:spPr>
          <a:xfrm flipH="1">
            <a:off x="398855" y="1972593"/>
            <a:ext cx="2190810" cy="59024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/>
            </a:defPPr>
            <a:lvl1pPr marL="285750" indent="-28575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"/>
              <a:defRPr sz="1400"/>
            </a:lvl1pPr>
          </a:lstStyle>
          <a:p>
            <a:pPr marL="0" marR="0" lvl="0" indent="0" algn="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kumimoji="0" lang="de-AT" sz="1400" b="1" i="1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sruptives Ereignis - </a:t>
            </a:r>
          </a:p>
          <a:p>
            <a:pPr marL="0" marR="0" lvl="0" indent="0" algn="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kumimoji="0" lang="de-AT" sz="1400" b="1" i="1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Digitalisierung</a:t>
            </a: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2DFF7E2D-29D3-430F-B3A0-DC6AF703882D}"/>
              </a:ext>
            </a:extLst>
          </p:cNvPr>
          <p:cNvSpPr txBox="1"/>
          <p:nvPr/>
        </p:nvSpPr>
        <p:spPr>
          <a:xfrm flipH="1">
            <a:off x="398855" y="5864247"/>
            <a:ext cx="2190810" cy="59024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/>
            </a:defPPr>
            <a:lvl1pPr marL="285750" indent="-28575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"/>
              <a:defRPr sz="1400"/>
            </a:lvl1pPr>
          </a:lstStyle>
          <a:p>
            <a:pPr marL="0" marR="0" lvl="0" indent="0" algn="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Home IT vs. Corporate IT</a:t>
            </a:r>
          </a:p>
        </p:txBody>
      </p:sp>
      <p:sp>
        <p:nvSpPr>
          <p:cNvPr id="23" name="TextBox 6">
            <a:extLst>
              <a:ext uri="{FF2B5EF4-FFF2-40B4-BE49-F238E27FC236}">
                <a16:creationId xmlns:a16="http://schemas.microsoft.com/office/drawing/2014/main" id="{6EC75FFA-E17C-45C4-859C-9978797F1531}"/>
              </a:ext>
            </a:extLst>
          </p:cNvPr>
          <p:cNvSpPr txBox="1"/>
          <p:nvPr/>
        </p:nvSpPr>
        <p:spPr>
          <a:xfrm flipH="1">
            <a:off x="398855" y="4567029"/>
            <a:ext cx="2190810" cy="59024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/>
            </a:defPPr>
            <a:lvl1pPr marL="285750" indent="-28575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"/>
              <a:defRPr sz="1400"/>
            </a:lvl1pPr>
          </a:lstStyle>
          <a:p>
            <a:pPr marL="0" marR="0" lvl="0" indent="0" algn="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kumimoji="0" lang="de-AT" sz="1400" b="1" i="1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Menschen im Fokus</a:t>
            </a:r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98CD90E2-43FC-478A-B49C-31B49403C4EE}"/>
              </a:ext>
            </a:extLst>
          </p:cNvPr>
          <p:cNvSpPr txBox="1"/>
          <p:nvPr/>
        </p:nvSpPr>
        <p:spPr>
          <a:xfrm flipH="1">
            <a:off x="398855" y="3269811"/>
            <a:ext cx="2190810" cy="59024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/>
            </a:defPPr>
            <a:lvl1pPr marL="285750" indent="-28575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"/>
              <a:defRPr sz="1400"/>
            </a:lvl1pPr>
          </a:lstStyle>
          <a:p>
            <a:pPr marL="0" marR="0" lvl="0" indent="0" algn="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kumimoji="0" lang="de-AT" sz="1400" b="1" i="1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Riesiges Potential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6E18CE91-2E85-4B7D-8598-B957F1664E11}"/>
              </a:ext>
            </a:extLst>
          </p:cNvPr>
          <p:cNvSpPr txBox="1">
            <a:spLocks/>
          </p:cNvSpPr>
          <p:nvPr/>
        </p:nvSpPr>
        <p:spPr>
          <a:xfrm>
            <a:off x="3387700" y="1763715"/>
            <a:ext cx="6912000" cy="1008000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Die COVID-19 Pandemie war für viele Unternehmen ein disruptives Ereignis. In kürzester Zeit mussten Digitalisierungsthemen, die eigentlich gute Planung benötigen, eingerichtet werden.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469074E9-30CA-41AE-AA19-73B9AAA4DDAC}"/>
              </a:ext>
            </a:extLst>
          </p:cNvPr>
          <p:cNvSpPr txBox="1">
            <a:spLocks/>
          </p:cNvSpPr>
          <p:nvPr/>
        </p:nvSpPr>
        <p:spPr>
          <a:xfrm>
            <a:off x="3387700" y="3060932"/>
            <a:ext cx="6912000" cy="1008000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Die Cyberkriminalität ist </a:t>
            </a:r>
            <a:r>
              <a:rPr lang="de-AT" dirty="0">
                <a:solidFill>
                  <a:srgbClr val="404040"/>
                </a:solidFill>
                <a:latin typeface="Trebuchet MS"/>
              </a:rPr>
              <a:t>zu Beginn der Pandemie s</a:t>
            </a: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tark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 angestiegen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Unzählige Unternehmen öffneten ihre Firewall für Remote-Services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Im Zuge der raschen Umstellung wurde IT-Security hinten angestellt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250CFCF2-AD3B-4FF0-BDB8-3A104B2ADB02}"/>
              </a:ext>
            </a:extLst>
          </p:cNvPr>
          <p:cNvSpPr txBox="1">
            <a:spLocks/>
          </p:cNvSpPr>
          <p:nvPr/>
        </p:nvSpPr>
        <p:spPr>
          <a:xfrm>
            <a:off x="3387700" y="4358150"/>
            <a:ext cx="6912000" cy="1008000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Besonders nicht-technische Angriffsvektoren wie Spam-E-Mails, Ransomware und (Spear-) Phishing stehen im Vordergrund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Die Gutgläubigkeit der Menschen wird ausgenutzt!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C8E72740-8866-4868-AFF3-C5D16FB6F6C8}"/>
              </a:ext>
            </a:extLst>
          </p:cNvPr>
          <p:cNvSpPr txBox="1">
            <a:spLocks/>
          </p:cNvSpPr>
          <p:nvPr/>
        </p:nvSpPr>
        <p:spPr>
          <a:xfrm>
            <a:off x="3387700" y="5655368"/>
            <a:ext cx="6912000" cy="1008000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Die private Infrastruktur steht nicht unter dem Schutz der Corporate IT. Das Sicherheitsniveau ist häufig schlecht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Risiko: Geräte werden auch von anderen Personen genutzt</a:t>
            </a:r>
            <a:r>
              <a:rPr lang="de-AT" dirty="0">
                <a:solidFill>
                  <a:srgbClr val="404040"/>
                </a:solidFill>
                <a:latin typeface="Trebuchet MS"/>
              </a:rPr>
              <a:t>.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239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0F916F3-ACE1-703D-43F8-5B99CD41849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Die Pandemie läuft an –&gt; damit auch die Kampagnen der Hacker-Grupp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BFA6186-687A-BB8B-04DB-3DEB34521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Vergleich der Covid-19-Fälle zu registrierten Corona-Domains mit hohem Risk-Score (2020)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6BA1A439-46C0-B9F0-5720-538BC2C7CA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5367052"/>
              </p:ext>
            </p:extLst>
          </p:nvPr>
        </p:nvGraphicFramePr>
        <p:xfrm>
          <a:off x="405951" y="1476375"/>
          <a:ext cx="9892906" cy="52809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473D184D-DAF2-B17B-914E-5B99C310A1EF}"/>
              </a:ext>
            </a:extLst>
          </p:cNvPr>
          <p:cNvSpPr txBox="1"/>
          <p:nvPr/>
        </p:nvSpPr>
        <p:spPr>
          <a:xfrm>
            <a:off x="8731076" y="6757278"/>
            <a:ext cx="1656184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AT" sz="700" dirty="0"/>
              <a:t>*Quelle: Auswertung BDO 03.2020</a:t>
            </a:r>
          </a:p>
        </p:txBody>
      </p:sp>
    </p:spTree>
    <p:extLst>
      <p:ext uri="{BB962C8B-B14F-4D97-AF65-F5344CB8AC3E}">
        <p14:creationId xmlns:p14="http://schemas.microsoft.com/office/powerpoint/2010/main" val="36791344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C313537-5E30-494D-9EC6-234A3765A7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8" progId="TCLayout.ActiveDocument.1">
                  <p:embed/>
                </p:oleObj>
              </mc:Choice>
              <mc:Fallback>
                <p:oleObj name="think-cell Folie" r:id="rId4" imgW="306" imgH="3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C313537-5E30-494D-9EC6-234A3765A7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5C450C4-115A-4024-B153-C7A7F33C14CD}"/>
              </a:ext>
            </a:extLst>
          </p:cNvPr>
          <p:cNvGrpSpPr/>
          <p:nvPr/>
        </p:nvGrpSpPr>
        <p:grpSpPr>
          <a:xfrm>
            <a:off x="300809" y="1767002"/>
            <a:ext cx="1306342" cy="1109894"/>
            <a:chOff x="253184" y="1770289"/>
            <a:chExt cx="1306342" cy="1109894"/>
          </a:xfrm>
        </p:grpSpPr>
        <p:sp>
          <p:nvSpPr>
            <p:cNvPr id="71" name="Ellipse 27">
              <a:extLst>
                <a:ext uri="{FF2B5EF4-FFF2-40B4-BE49-F238E27FC236}">
                  <a16:creationId xmlns:a16="http://schemas.microsoft.com/office/drawing/2014/main" id="{28BE039C-DC72-4E1D-9D82-D85FF21D5A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3184" y="1770289"/>
              <a:ext cx="1109894" cy="1109894"/>
            </a:xfrm>
            <a:prstGeom prst="ellipse">
              <a:avLst/>
            </a:prstGeom>
            <a:solidFill>
              <a:srgbClr val="E0E5E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73" name="Bogen 72">
              <a:extLst>
                <a:ext uri="{FF2B5EF4-FFF2-40B4-BE49-F238E27FC236}">
                  <a16:creationId xmlns:a16="http://schemas.microsoft.com/office/drawing/2014/main" id="{3D19C963-81D9-48FF-A6E8-656A7098C11E}"/>
                </a:ext>
              </a:extLst>
            </p:cNvPr>
            <p:cNvSpPr/>
            <p:nvPr/>
          </p:nvSpPr>
          <p:spPr>
            <a:xfrm>
              <a:off x="450809" y="1770289"/>
              <a:ext cx="1108717" cy="1108717"/>
            </a:xfrm>
            <a:prstGeom prst="arc">
              <a:avLst>
                <a:gd name="adj1" fmla="val 3099742"/>
                <a:gd name="adj2" fmla="val 18885834"/>
              </a:avLst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D73D34C-B1FE-46C6-8114-A2215FA08B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 err="1"/>
              <a:t>Cyber</a:t>
            </a:r>
            <a:r>
              <a:rPr lang="de-AT" dirty="0"/>
              <a:t> Crime - IT-Kriminalität als weltweit hochprofitables Geschäf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4C0BD2C-A543-44CA-A00D-522E85429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dirty="0"/>
              <a:t>Cyberbedrohungen aufgrund des Ukraine-Kriegs</a:t>
            </a:r>
            <a:endParaRPr lang="en-US" dirty="0"/>
          </a:p>
        </p:txBody>
      </p:sp>
      <p:sp>
        <p:nvSpPr>
          <p:cNvPr id="72" name="TextBox 6">
            <a:extLst>
              <a:ext uri="{FF2B5EF4-FFF2-40B4-BE49-F238E27FC236}">
                <a16:creationId xmlns:a16="http://schemas.microsoft.com/office/drawing/2014/main" id="{2FF40DEA-A791-413D-9D39-9208F9E09686}"/>
              </a:ext>
            </a:extLst>
          </p:cNvPr>
          <p:cNvSpPr txBox="1"/>
          <p:nvPr/>
        </p:nvSpPr>
        <p:spPr>
          <a:xfrm>
            <a:off x="817339" y="1968100"/>
            <a:ext cx="1908000" cy="763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/>
            </a:defPPr>
            <a:lvl1pPr marL="285750" indent="-28575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"/>
              <a:defRPr sz="1400"/>
            </a:lvl1pPr>
          </a:lstStyle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kumimoji="0" lang="da-DK" sz="14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Ein polarisierendes Thema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802C3753-159C-423E-9FBE-99126F16448F}"/>
              </a:ext>
            </a:extLst>
          </p:cNvPr>
          <p:cNvGrpSpPr/>
          <p:nvPr/>
        </p:nvGrpSpPr>
        <p:grpSpPr>
          <a:xfrm>
            <a:off x="300809" y="3658066"/>
            <a:ext cx="1306342" cy="1109894"/>
            <a:chOff x="253184" y="3768458"/>
            <a:chExt cx="1306342" cy="1109894"/>
          </a:xfrm>
        </p:grpSpPr>
        <p:sp>
          <p:nvSpPr>
            <p:cNvPr id="61" name="Ellipse 27">
              <a:extLst>
                <a:ext uri="{FF2B5EF4-FFF2-40B4-BE49-F238E27FC236}">
                  <a16:creationId xmlns:a16="http://schemas.microsoft.com/office/drawing/2014/main" id="{9DF0561F-CCBE-44BE-B1CC-E60AAAE348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3184" y="3768458"/>
              <a:ext cx="1109894" cy="1109894"/>
            </a:xfrm>
            <a:prstGeom prst="ellipse">
              <a:avLst/>
            </a:prstGeom>
            <a:solidFill>
              <a:srgbClr val="E0E5E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Bogen 62">
              <a:extLst>
                <a:ext uri="{FF2B5EF4-FFF2-40B4-BE49-F238E27FC236}">
                  <a16:creationId xmlns:a16="http://schemas.microsoft.com/office/drawing/2014/main" id="{400893BA-3F6D-4FA8-AA6A-D8FEED8C5381}"/>
                </a:ext>
              </a:extLst>
            </p:cNvPr>
            <p:cNvSpPr/>
            <p:nvPr/>
          </p:nvSpPr>
          <p:spPr>
            <a:xfrm>
              <a:off x="450809" y="3768458"/>
              <a:ext cx="1108717" cy="1108717"/>
            </a:xfrm>
            <a:prstGeom prst="arc">
              <a:avLst>
                <a:gd name="adj1" fmla="val 3099742"/>
                <a:gd name="adj2" fmla="val 18885834"/>
              </a:avLst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83E5CC4-CC88-4B55-A8B0-D84C9900DC4A}"/>
              </a:ext>
            </a:extLst>
          </p:cNvPr>
          <p:cNvGrpSpPr/>
          <p:nvPr/>
        </p:nvGrpSpPr>
        <p:grpSpPr>
          <a:xfrm>
            <a:off x="300809" y="5548291"/>
            <a:ext cx="1306342" cy="1109894"/>
            <a:chOff x="253184" y="5545843"/>
            <a:chExt cx="1306342" cy="1109894"/>
          </a:xfrm>
        </p:grpSpPr>
        <p:sp>
          <p:nvSpPr>
            <p:cNvPr id="57" name="Ellipse 27">
              <a:extLst>
                <a:ext uri="{FF2B5EF4-FFF2-40B4-BE49-F238E27FC236}">
                  <a16:creationId xmlns:a16="http://schemas.microsoft.com/office/drawing/2014/main" id="{A803513A-4ABF-42E1-A399-3934F15BD0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3184" y="5545843"/>
              <a:ext cx="1109894" cy="1109894"/>
            </a:xfrm>
            <a:prstGeom prst="ellipse">
              <a:avLst/>
            </a:prstGeom>
            <a:solidFill>
              <a:srgbClr val="E0E5E9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59" name="Bogen 58">
              <a:extLst>
                <a:ext uri="{FF2B5EF4-FFF2-40B4-BE49-F238E27FC236}">
                  <a16:creationId xmlns:a16="http://schemas.microsoft.com/office/drawing/2014/main" id="{EDC2CD02-CA02-4B6C-AC86-BA5BCD4067B2}"/>
                </a:ext>
              </a:extLst>
            </p:cNvPr>
            <p:cNvSpPr/>
            <p:nvPr/>
          </p:nvSpPr>
          <p:spPr>
            <a:xfrm>
              <a:off x="450809" y="5545843"/>
              <a:ext cx="1108717" cy="1108717"/>
            </a:xfrm>
            <a:prstGeom prst="arc">
              <a:avLst>
                <a:gd name="adj1" fmla="val 3099742"/>
                <a:gd name="adj2" fmla="val 18885834"/>
              </a:avLst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cxnSp>
        <p:nvCxnSpPr>
          <p:cNvPr id="88" name="Gerader Verbinder 12">
            <a:extLst>
              <a:ext uri="{FF2B5EF4-FFF2-40B4-BE49-F238E27FC236}">
                <a16:creationId xmlns:a16="http://schemas.microsoft.com/office/drawing/2014/main" id="{4B2F196F-34C9-4F82-B12B-DB5A43E92957}"/>
              </a:ext>
            </a:extLst>
          </p:cNvPr>
          <p:cNvCxnSpPr>
            <a:cxnSpLocks/>
          </p:cNvCxnSpPr>
          <p:nvPr/>
        </p:nvCxnSpPr>
        <p:spPr>
          <a:xfrm flipV="1">
            <a:off x="1052793" y="2879007"/>
            <a:ext cx="0" cy="773831"/>
          </a:xfrm>
          <a:prstGeom prst="line">
            <a:avLst/>
          </a:prstGeom>
          <a:ln w="19050">
            <a:solidFill>
              <a:srgbClr val="3440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">
            <a:extLst>
              <a:ext uri="{FF2B5EF4-FFF2-40B4-BE49-F238E27FC236}">
                <a16:creationId xmlns:a16="http://schemas.microsoft.com/office/drawing/2014/main" id="{BF25E018-CB3B-458C-821A-DAEFF9642406}"/>
              </a:ext>
            </a:extLst>
          </p:cNvPr>
          <p:cNvSpPr txBox="1"/>
          <p:nvPr/>
        </p:nvSpPr>
        <p:spPr>
          <a:xfrm>
            <a:off x="817337" y="3855877"/>
            <a:ext cx="1908000" cy="763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/>
            </a:defPPr>
            <a:lvl1pPr marL="285750" indent="-28575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"/>
              <a:defRPr sz="1400"/>
            </a:lvl1pPr>
          </a:lstStyle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kumimoji="0" lang="de-AT" sz="14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Bedrohungen bei uns</a:t>
            </a:r>
          </a:p>
        </p:txBody>
      </p:sp>
      <p:sp>
        <p:nvSpPr>
          <p:cNvPr id="58" name="TextBox 6">
            <a:extLst>
              <a:ext uri="{FF2B5EF4-FFF2-40B4-BE49-F238E27FC236}">
                <a16:creationId xmlns:a16="http://schemas.microsoft.com/office/drawing/2014/main" id="{3BCE23F7-40AE-4186-A27E-47F6D812B0A3}"/>
              </a:ext>
            </a:extLst>
          </p:cNvPr>
          <p:cNvSpPr txBox="1"/>
          <p:nvPr/>
        </p:nvSpPr>
        <p:spPr>
          <a:xfrm>
            <a:off x="817336" y="5743654"/>
            <a:ext cx="1908000" cy="763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/>
            </a:defPPr>
            <a:lvl1pPr marL="285750" indent="-28575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"/>
              <a:defRPr sz="1400"/>
            </a:lvl1pPr>
          </a:lstStyle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kumimoji="0" lang="de-AT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yber</a:t>
            </a:r>
            <a:r>
              <a:rPr kumimoji="0" lang="de-AT" sz="14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 Warfare</a:t>
            </a:r>
          </a:p>
        </p:txBody>
      </p:sp>
      <p:cxnSp>
        <p:nvCxnSpPr>
          <p:cNvPr id="89" name="Gerader Verbinder 12">
            <a:extLst>
              <a:ext uri="{FF2B5EF4-FFF2-40B4-BE49-F238E27FC236}">
                <a16:creationId xmlns:a16="http://schemas.microsoft.com/office/drawing/2014/main" id="{958BB1AA-8B46-4983-9023-6A602B8D6B97}"/>
              </a:ext>
            </a:extLst>
          </p:cNvPr>
          <p:cNvCxnSpPr>
            <a:cxnSpLocks/>
          </p:cNvCxnSpPr>
          <p:nvPr/>
        </p:nvCxnSpPr>
        <p:spPr>
          <a:xfrm flipV="1">
            <a:off x="1052793" y="4772012"/>
            <a:ext cx="0" cy="773831"/>
          </a:xfrm>
          <a:prstGeom prst="line">
            <a:avLst/>
          </a:prstGeom>
          <a:ln w="19050">
            <a:solidFill>
              <a:srgbClr val="3440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r Verbinder 12">
            <a:extLst>
              <a:ext uri="{FF2B5EF4-FFF2-40B4-BE49-F238E27FC236}">
                <a16:creationId xmlns:a16="http://schemas.microsoft.com/office/drawing/2014/main" id="{FB06BD23-1920-45BD-98C2-62BD0C834F66}"/>
              </a:ext>
            </a:extLst>
          </p:cNvPr>
          <p:cNvCxnSpPr>
            <a:cxnSpLocks/>
          </p:cNvCxnSpPr>
          <p:nvPr/>
        </p:nvCxnSpPr>
        <p:spPr>
          <a:xfrm flipV="1">
            <a:off x="1052793" y="6661151"/>
            <a:ext cx="0" cy="901699"/>
          </a:xfrm>
          <a:prstGeom prst="line">
            <a:avLst/>
          </a:prstGeom>
          <a:ln w="19050">
            <a:solidFill>
              <a:srgbClr val="3440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8132EEE1-164B-48FE-876F-4CA25A140940}"/>
              </a:ext>
            </a:extLst>
          </p:cNvPr>
          <p:cNvSpPr txBox="1">
            <a:spLocks/>
          </p:cNvSpPr>
          <p:nvPr/>
        </p:nvSpPr>
        <p:spPr>
          <a:xfrm>
            <a:off x="2662463" y="1763716"/>
            <a:ext cx="4196405" cy="11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Aufgrund des Kriegs zwischen Russland und der Ukraine besteht ein besonders hohes Risiko im Cyberraum durch Cyber-Angriffe sowie Versuche des Einflussnahme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Einige Angriffe gegen Unternehmen aufgrund von Äußerungen zu den Ereignissen.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4B2EB6E5-682B-4BB3-AF55-5B70C133B643}"/>
              </a:ext>
            </a:extLst>
          </p:cNvPr>
          <p:cNvSpPr txBox="1">
            <a:spLocks/>
          </p:cNvSpPr>
          <p:nvPr/>
        </p:nvSpPr>
        <p:spPr>
          <a:xfrm>
            <a:off x="2662463" y="3852639"/>
            <a:ext cx="4196404" cy="11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Fake News bzw. Desinformationskampagnen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DoS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- und DDoS-Angriffe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Social</a:t>
            </a: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-Engineering-Angriff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04CF61C4-A61C-4D17-BD83-2328AD70A331}"/>
              </a:ext>
            </a:extLst>
          </p:cNvPr>
          <p:cNvSpPr txBox="1">
            <a:spLocks/>
          </p:cNvSpPr>
          <p:nvPr/>
        </p:nvSpPr>
        <p:spPr>
          <a:xfrm>
            <a:off x="2662463" y="5757375"/>
            <a:ext cx="4196402" cy="11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Angriffe auf staatliche Infrastrukturen </a:t>
            </a: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</a:b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(z.B. ukrainische Stromnetz)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Hacking von russischen/ukrainischen </a:t>
            </a: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</a:b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Unternehmen inkl. Veröffentlichung der Data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CB7142D-9B39-9BC8-2A4F-CA59F1092687}"/>
              </a:ext>
            </a:extLst>
          </p:cNvPr>
          <p:cNvGrpSpPr/>
          <p:nvPr/>
        </p:nvGrpSpPr>
        <p:grpSpPr>
          <a:xfrm>
            <a:off x="7218904" y="4902977"/>
            <a:ext cx="3338927" cy="1789139"/>
            <a:chOff x="6959929" y="3987133"/>
            <a:chExt cx="3338927" cy="1789139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1FC31A6F-62FF-B75B-C39A-CB9A3513861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59929" y="3987133"/>
              <a:ext cx="3268316" cy="1580233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D8AD1C1C-EC8D-05E1-1E0A-EEC4FD5A515F}"/>
                </a:ext>
              </a:extLst>
            </p:cNvPr>
            <p:cNvSpPr txBox="1"/>
            <p:nvPr/>
          </p:nvSpPr>
          <p:spPr>
            <a:xfrm>
              <a:off x="7774297" y="5560828"/>
              <a:ext cx="2524559" cy="2154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AT" sz="800" dirty="0"/>
                <a:t>https://www.bbc.com/news/technology-61085480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730291F2-E155-64B8-8803-BFDC26A2BDF3}"/>
              </a:ext>
            </a:extLst>
          </p:cNvPr>
          <p:cNvGrpSpPr/>
          <p:nvPr/>
        </p:nvGrpSpPr>
        <p:grpSpPr>
          <a:xfrm>
            <a:off x="6971598" y="3371587"/>
            <a:ext cx="3586233" cy="1085905"/>
            <a:chOff x="6900987" y="3748356"/>
            <a:chExt cx="3586233" cy="1085905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1A6D0B9A-7F0B-5AD7-C8FD-C48FD925A0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976827" y="3748356"/>
              <a:ext cx="3510393" cy="747351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3C4C8751-AC4F-CEE7-A163-756DF40910D3}"/>
                </a:ext>
              </a:extLst>
            </p:cNvPr>
            <p:cNvSpPr txBox="1"/>
            <p:nvPr/>
          </p:nvSpPr>
          <p:spPr>
            <a:xfrm>
              <a:off x="6900987" y="4495707"/>
              <a:ext cx="358623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dirty="0"/>
                <a:t>https://www.techtarget.com/searchsecurity/news/252521150/Major-DDoS-attacks-increasing-after-invasion-of-Ukraine</a:t>
              </a:r>
              <a:endParaRPr lang="de-AT" sz="800" dirty="0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9CE843C8-453A-6E18-3F31-5D51DBC11D16}"/>
              </a:ext>
            </a:extLst>
          </p:cNvPr>
          <p:cNvGrpSpPr/>
          <p:nvPr/>
        </p:nvGrpSpPr>
        <p:grpSpPr>
          <a:xfrm>
            <a:off x="7079603" y="1483914"/>
            <a:ext cx="3503153" cy="1399883"/>
            <a:chOff x="7079603" y="1483914"/>
            <a:chExt cx="3503153" cy="1399883"/>
          </a:xfrm>
        </p:grpSpPr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59FB9658-D53A-8B96-3CAA-FE77CB604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79603" y="1483914"/>
              <a:ext cx="3478228" cy="1035836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EBA8EA6E-1B6D-7BC6-4166-4B2E8B74EF84}"/>
                </a:ext>
              </a:extLst>
            </p:cNvPr>
            <p:cNvSpPr txBox="1"/>
            <p:nvPr/>
          </p:nvSpPr>
          <p:spPr>
            <a:xfrm>
              <a:off x="7578952" y="2545243"/>
              <a:ext cx="300380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AT" sz="800" dirty="0"/>
                <a:t>https://edition.cnn.com/2023/03/15/politics/russian-hackers-europe-military-organizations-microsoft/index.htm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71546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D6AAFF-CBDF-4FE7-8C08-FCC9598ED3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Vorstellung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AA07376-4DAF-4D0F-A124-ACA0DC63AB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BDO Consulting / </a:t>
            </a:r>
            <a:r>
              <a:rPr lang="de-AT" dirty="0" err="1"/>
              <a:t>Cyber</a:t>
            </a:r>
            <a:r>
              <a:rPr lang="de-AT" dirty="0"/>
              <a:t> Security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8E8346C-6701-4B25-A7CA-8A34F51065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9" r="16689"/>
          <a:stretch/>
        </p:blipFill>
        <p:spPr>
          <a:xfrm>
            <a:off x="-557956" y="1763713"/>
            <a:ext cx="4897436" cy="4897437"/>
          </a:xfrm>
          <a:prstGeom prst="ellipse">
            <a:avLst/>
          </a:prstGeom>
        </p:spPr>
      </p:pic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04D8B941-8E58-4A3D-8391-5D13B777B126}"/>
              </a:ext>
            </a:extLst>
          </p:cNvPr>
          <p:cNvSpPr/>
          <p:nvPr/>
        </p:nvSpPr>
        <p:spPr>
          <a:xfrm rot="16200000">
            <a:off x="3393317" y="5390910"/>
            <a:ext cx="954206" cy="1900739"/>
          </a:xfrm>
          <a:custGeom>
            <a:avLst/>
            <a:gdLst>
              <a:gd name="connsiteX0" fmla="*/ 1474516 w 1480469"/>
              <a:gd name="connsiteY0" fmla="*/ 0 h 2949032"/>
              <a:gd name="connsiteX1" fmla="*/ 1480469 w 1480469"/>
              <a:gd name="connsiteY1" fmla="*/ 301 h 2949032"/>
              <a:gd name="connsiteX2" fmla="*/ 1480469 w 1480469"/>
              <a:gd name="connsiteY2" fmla="*/ 2948732 h 2949032"/>
              <a:gd name="connsiteX3" fmla="*/ 1474516 w 1480469"/>
              <a:gd name="connsiteY3" fmla="*/ 2949032 h 2949032"/>
              <a:gd name="connsiteX4" fmla="*/ 0 w 1480469"/>
              <a:gd name="connsiteY4" fmla="*/ 1474516 h 2949032"/>
              <a:gd name="connsiteX5" fmla="*/ 1474516 w 1480469"/>
              <a:gd name="connsiteY5" fmla="*/ 0 h 2949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80469" h="2949032">
                <a:moveTo>
                  <a:pt x="1474516" y="0"/>
                </a:moveTo>
                <a:lnTo>
                  <a:pt x="1480469" y="301"/>
                </a:lnTo>
                <a:lnTo>
                  <a:pt x="1480469" y="2948732"/>
                </a:lnTo>
                <a:lnTo>
                  <a:pt x="1474516" y="2949032"/>
                </a:lnTo>
                <a:cubicBezTo>
                  <a:pt x="660163" y="2949032"/>
                  <a:pt x="0" y="2288869"/>
                  <a:pt x="0" y="1474516"/>
                </a:cubicBezTo>
                <a:cubicBezTo>
                  <a:pt x="0" y="660163"/>
                  <a:pt x="660163" y="0"/>
                  <a:pt x="1474516" y="0"/>
                </a:cubicBezTo>
                <a:close/>
              </a:path>
            </a:pathLst>
          </a:custGeom>
          <a:solidFill>
            <a:srgbClr val="41BB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DEFE11A1-EDB7-4249-B372-C7FA37A7EB71}"/>
              </a:ext>
            </a:extLst>
          </p:cNvPr>
          <p:cNvSpPr txBox="1">
            <a:spLocks/>
          </p:cNvSpPr>
          <p:nvPr/>
        </p:nvSpPr>
        <p:spPr>
          <a:xfrm>
            <a:off x="6126652" y="2520510"/>
            <a:ext cx="3756551" cy="3798962"/>
          </a:xfrm>
          <a:prstGeom prst="rect">
            <a:avLst/>
          </a:prstGeom>
        </p:spPr>
        <p:txBody>
          <a:bodyPr lIns="0" tIns="0" rIns="0" bIns="0"/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indent="0">
              <a:buFont typeface="Wingdings 3" panose="05040102010807070707" pitchFamily="18" charset="2"/>
              <a:buNone/>
            </a:pPr>
            <a:r>
              <a:rPr lang="de-AT" sz="1200" b="1" dirty="0"/>
              <a:t>Innovation, Transformation und Sicherheit </a:t>
            </a:r>
            <a:r>
              <a:rPr lang="de-AT" sz="1200" dirty="0"/>
              <a:t>brauchen die besten Köpfe - </a:t>
            </a:r>
            <a:r>
              <a:rPr lang="de-AT" sz="1200" b="1" dirty="0"/>
              <a:t>BDO Consulting </a:t>
            </a:r>
            <a:r>
              <a:rPr lang="de-AT" sz="1200" dirty="0"/>
              <a:t>hat sie.</a:t>
            </a:r>
          </a:p>
          <a:p>
            <a:pPr marL="0" indent="0">
              <a:buFont typeface="Wingdings 3" panose="05040102010807070707" pitchFamily="18" charset="2"/>
              <a:buNone/>
            </a:pPr>
            <a:r>
              <a:rPr lang="de-AT" sz="1200" dirty="0"/>
              <a:t>Wir begegnen komplexen Aufgabenstellungen mit </a:t>
            </a:r>
            <a:r>
              <a:rPr lang="de-AT" sz="1200" b="1" dirty="0"/>
              <a:t>breiten, innovativen Lösungen, </a:t>
            </a:r>
            <a:r>
              <a:rPr lang="de-AT" sz="1200" b="1" dirty="0" err="1"/>
              <a:t>state</a:t>
            </a:r>
            <a:r>
              <a:rPr lang="de-AT" sz="1200" b="1" dirty="0"/>
              <a:t>-</a:t>
            </a:r>
            <a:r>
              <a:rPr lang="de-AT" sz="1200" b="1" dirty="0" err="1"/>
              <a:t>of</a:t>
            </a:r>
            <a:r>
              <a:rPr lang="de-AT" sz="1200" b="1" dirty="0"/>
              <a:t>-</a:t>
            </a:r>
            <a:r>
              <a:rPr lang="de-AT" sz="1200" b="1" dirty="0" err="1"/>
              <a:t>the</a:t>
            </a:r>
            <a:r>
              <a:rPr lang="de-AT" sz="1200" b="1" dirty="0"/>
              <a:t>-art Tools</a:t>
            </a:r>
            <a:r>
              <a:rPr lang="de-AT" sz="1200" dirty="0"/>
              <a:t> und </a:t>
            </a:r>
            <a:r>
              <a:rPr lang="de-AT" sz="1200" b="1" dirty="0"/>
              <a:t>umfassendem Know-how </a:t>
            </a:r>
            <a:r>
              <a:rPr lang="de-AT" sz="1200" dirty="0"/>
              <a:t>– von der ersten Analyse bis zur finalen Implementierung, national sowie international. </a:t>
            </a:r>
          </a:p>
          <a:p>
            <a:pPr marL="0" indent="0">
              <a:buFont typeface="Wingdings 3" panose="05040102010807070707" pitchFamily="18" charset="2"/>
              <a:buNone/>
            </a:pPr>
            <a:r>
              <a:rPr lang="de-AT" sz="1200" dirty="0"/>
              <a:t>Denn unser Ziel ist </a:t>
            </a:r>
            <a:r>
              <a:rPr lang="de-AT" sz="1200" b="1" dirty="0"/>
              <a:t>Ihr nachhaltiger Erfolg!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FAEA8CA-9422-4D5A-AA6F-B521FA60A9B9}"/>
              </a:ext>
            </a:extLst>
          </p:cNvPr>
          <p:cNvSpPr/>
          <p:nvPr/>
        </p:nvSpPr>
        <p:spPr>
          <a:xfrm>
            <a:off x="5162550" y="1763713"/>
            <a:ext cx="5162551" cy="648000"/>
          </a:xfrm>
          <a:prstGeom prst="rect">
            <a:avLst/>
          </a:prstGeom>
          <a:solidFill>
            <a:srgbClr val="657C9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/>
            </a:defPPr>
            <a:lvl1pPr marL="0" algn="l" defTabSz="96624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83123" algn="l" defTabSz="96624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66246" algn="l" defTabSz="96624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49370" algn="l" defTabSz="96624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32493" algn="l" defTabSz="96624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15616" algn="l" defTabSz="96624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98739" algn="l" defTabSz="96624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81863" algn="l" defTabSz="96624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64986" algn="l" defTabSz="96624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B11B9C8-1F41-4712-9C05-D9505F71AD8B}"/>
              </a:ext>
            </a:extLst>
          </p:cNvPr>
          <p:cNvGrpSpPr/>
          <p:nvPr/>
        </p:nvGrpSpPr>
        <p:grpSpPr>
          <a:xfrm>
            <a:off x="4676603" y="1362685"/>
            <a:ext cx="2006886" cy="1450056"/>
            <a:chOff x="-528030" y="1381544"/>
            <a:chExt cx="2006886" cy="1450056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59DEE8F4-12C3-4271-95CC-C6B80961187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8856" y="2106572"/>
              <a:ext cx="1080000" cy="0"/>
            </a:xfrm>
            <a:prstGeom prst="line">
              <a:avLst/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7C85B592-8F25-49B8-BD32-1473490AF00B}"/>
                </a:ext>
              </a:extLst>
            </p:cNvPr>
            <p:cNvSpPr/>
            <p:nvPr/>
          </p:nvSpPr>
          <p:spPr>
            <a:xfrm flipH="1">
              <a:off x="-528030" y="1381544"/>
              <a:ext cx="1450050" cy="1450056"/>
            </a:xfrm>
            <a:prstGeom prst="ellipse">
              <a:avLst/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548BD51B-2179-4750-8DA6-FE7611701A93}"/>
              </a:ext>
            </a:extLst>
          </p:cNvPr>
          <p:cNvSpPr txBox="1"/>
          <p:nvPr/>
        </p:nvSpPr>
        <p:spPr>
          <a:xfrm flipH="1">
            <a:off x="6822980" y="1821884"/>
            <a:ext cx="3098399" cy="53165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/>
            </a:defPPr>
            <a:lvl1pPr marR="0" lvl="0" indent="0" defTabSz="1008044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 kumimoji="0" sz="1600" b="1" i="0" u="none" strike="noStrike" cap="all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AT" sz="1800" i="1" dirty="0">
                <a:solidFill>
                  <a:schemeClr val="bg1"/>
                </a:solidFill>
                <a:sym typeface="Arial"/>
              </a:rPr>
              <a:t>Bereich: Consultin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6654EF6-90F0-4725-BBC9-F43BF3FE3CC9}"/>
              </a:ext>
            </a:extLst>
          </p:cNvPr>
          <p:cNvSpPr txBox="1"/>
          <p:nvPr/>
        </p:nvSpPr>
        <p:spPr>
          <a:xfrm flipH="1">
            <a:off x="6683489" y="4951293"/>
            <a:ext cx="4762800" cy="1661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08044">
              <a:lnSpc>
                <a:spcPct val="90000"/>
              </a:lnSpc>
              <a:spcBef>
                <a:spcPts val="1102"/>
              </a:spcBef>
              <a:buClr>
                <a:srgbClr val="ED1A3B"/>
              </a:buClr>
            </a:pPr>
            <a:r>
              <a:rPr lang="de-AT" sz="1200" b="1" i="1" dirty="0">
                <a:solidFill>
                  <a:srgbClr val="657C91"/>
                </a:solidFill>
              </a:rPr>
              <a:t>Information Technology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304A870-3828-4724-8CCC-7C8451C6067B}"/>
              </a:ext>
            </a:extLst>
          </p:cNvPr>
          <p:cNvSpPr txBox="1"/>
          <p:nvPr/>
        </p:nvSpPr>
        <p:spPr>
          <a:xfrm flipH="1">
            <a:off x="6683489" y="4354369"/>
            <a:ext cx="4762800" cy="1661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08044">
              <a:lnSpc>
                <a:spcPct val="90000"/>
              </a:lnSpc>
              <a:spcBef>
                <a:spcPts val="1102"/>
              </a:spcBef>
              <a:buClr>
                <a:srgbClr val="ED1A3B"/>
              </a:buClr>
            </a:pPr>
            <a:r>
              <a:rPr lang="de-AT" sz="1200" b="1" i="1" dirty="0">
                <a:solidFill>
                  <a:srgbClr val="657C91"/>
                </a:solidFill>
              </a:rPr>
              <a:t>Management Consulting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FB251F3-0288-4DC8-9177-2CE551074FFE}"/>
              </a:ext>
            </a:extLst>
          </p:cNvPr>
          <p:cNvSpPr txBox="1"/>
          <p:nvPr/>
        </p:nvSpPr>
        <p:spPr>
          <a:xfrm flipH="1">
            <a:off x="6683489" y="4652831"/>
            <a:ext cx="4762800" cy="1661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08044">
              <a:lnSpc>
                <a:spcPct val="90000"/>
              </a:lnSpc>
              <a:spcBef>
                <a:spcPts val="1102"/>
              </a:spcBef>
              <a:buClr>
                <a:srgbClr val="ED1A3B"/>
              </a:buClr>
            </a:pPr>
            <a:r>
              <a:rPr lang="de-AT" sz="1200" b="1" i="1" dirty="0" err="1">
                <a:solidFill>
                  <a:srgbClr val="ED1A3B"/>
                </a:solidFill>
              </a:rPr>
              <a:t>Cyber</a:t>
            </a:r>
            <a:r>
              <a:rPr lang="de-AT" sz="1200" b="1" i="1" dirty="0">
                <a:solidFill>
                  <a:srgbClr val="ED1A3B"/>
                </a:solidFill>
              </a:rPr>
              <a:t> Security &amp; Digital Services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CF9809A-710A-47DB-AECF-81036A180336}"/>
              </a:ext>
            </a:extLst>
          </p:cNvPr>
          <p:cNvSpPr txBox="1"/>
          <p:nvPr/>
        </p:nvSpPr>
        <p:spPr>
          <a:xfrm flipH="1">
            <a:off x="6683489" y="5249755"/>
            <a:ext cx="4762800" cy="1661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08044">
              <a:lnSpc>
                <a:spcPct val="90000"/>
              </a:lnSpc>
              <a:spcBef>
                <a:spcPts val="1102"/>
              </a:spcBef>
              <a:buClr>
                <a:srgbClr val="ED1A3B"/>
              </a:buClr>
            </a:pPr>
            <a:r>
              <a:rPr lang="de-AT" sz="1200" b="1" i="1" dirty="0">
                <a:solidFill>
                  <a:srgbClr val="657C91"/>
                </a:solidFill>
              </a:rPr>
              <a:t>Risk &amp; </a:t>
            </a:r>
            <a:r>
              <a:rPr lang="de-AT" sz="1200" b="1" i="1" dirty="0" err="1">
                <a:solidFill>
                  <a:srgbClr val="657C91"/>
                </a:solidFill>
              </a:rPr>
              <a:t>Resilience</a:t>
            </a:r>
            <a:endParaRPr lang="de-AT" sz="1200" b="1" i="1" dirty="0">
              <a:solidFill>
                <a:srgbClr val="657C9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DA9ACF1-CDAA-4DA0-9B00-82D4EEDEABD5}"/>
              </a:ext>
            </a:extLst>
          </p:cNvPr>
          <p:cNvSpPr txBox="1"/>
          <p:nvPr/>
        </p:nvSpPr>
        <p:spPr>
          <a:xfrm flipH="1">
            <a:off x="6683489" y="5548217"/>
            <a:ext cx="4762800" cy="1661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08044">
              <a:lnSpc>
                <a:spcPct val="90000"/>
              </a:lnSpc>
              <a:spcBef>
                <a:spcPts val="1102"/>
              </a:spcBef>
              <a:buClr>
                <a:srgbClr val="ED1A3B"/>
              </a:buClr>
            </a:pPr>
            <a:r>
              <a:rPr lang="de-AT" sz="1200" b="1" i="1" dirty="0">
                <a:solidFill>
                  <a:srgbClr val="657C91"/>
                </a:solidFill>
              </a:rPr>
              <a:t>People &amp; Organisatio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4CAE33C-74B1-46D9-B765-57B4B92F8853}"/>
              </a:ext>
            </a:extLst>
          </p:cNvPr>
          <p:cNvSpPr txBox="1"/>
          <p:nvPr/>
        </p:nvSpPr>
        <p:spPr>
          <a:xfrm flipH="1">
            <a:off x="6683489" y="5846680"/>
            <a:ext cx="4762800" cy="1661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08044">
              <a:lnSpc>
                <a:spcPct val="90000"/>
              </a:lnSpc>
              <a:spcBef>
                <a:spcPts val="1102"/>
              </a:spcBef>
              <a:buClr>
                <a:srgbClr val="ED1A3B"/>
              </a:buClr>
            </a:pPr>
            <a:r>
              <a:rPr lang="de-AT" sz="1200" b="1" i="1" dirty="0">
                <a:solidFill>
                  <a:srgbClr val="657C91"/>
                </a:solidFill>
              </a:rPr>
              <a:t>Förderungen &amp; Forschung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C159A306-9580-4BD0-9456-D4A4588E90DB}"/>
              </a:ext>
            </a:extLst>
          </p:cNvPr>
          <p:cNvSpPr/>
          <p:nvPr/>
        </p:nvSpPr>
        <p:spPr>
          <a:xfrm>
            <a:off x="3258468" y="4284687"/>
            <a:ext cx="1975548" cy="157948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0C2BE08-5200-4BE8-911A-B2B8794985A7}"/>
              </a:ext>
            </a:extLst>
          </p:cNvPr>
          <p:cNvSpPr txBox="1"/>
          <p:nvPr/>
        </p:nvSpPr>
        <p:spPr>
          <a:xfrm>
            <a:off x="3333276" y="4571921"/>
            <a:ext cx="2349531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b" anchorCtr="0">
            <a:spAutoFit/>
          </a:bodyPr>
          <a:lstStyle/>
          <a:p>
            <a:pPr marL="0" marR="0" lvl="0" indent="0" defTabSz="1008044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SzPct val="80000"/>
              <a:buFontTx/>
              <a:buNone/>
              <a:tabLst/>
              <a:defRPr/>
            </a:pPr>
            <a:r>
              <a:rPr lang="de-AT" sz="1600" b="1" kern="0" dirty="0">
                <a:solidFill>
                  <a:srgbClr val="404040"/>
                </a:solidFill>
                <a:latin typeface="Trebuchet MS"/>
                <a:sym typeface="Arial"/>
              </a:rPr>
              <a:t>Ewald Kager</a:t>
            </a:r>
            <a:endParaRPr kumimoji="0" lang="de-AT" sz="1600" b="1" i="0" u="none" strike="noStrike" kern="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22" name="Inhaltsplatzhalter 50">
            <a:extLst>
              <a:ext uri="{FF2B5EF4-FFF2-40B4-BE49-F238E27FC236}">
                <a16:creationId xmlns:a16="http://schemas.microsoft.com/office/drawing/2014/main" id="{2B64E00A-05E3-4653-937A-1DBF9E56B0A1}"/>
              </a:ext>
            </a:extLst>
          </p:cNvPr>
          <p:cNvSpPr txBox="1">
            <a:spLocks/>
          </p:cNvSpPr>
          <p:nvPr/>
        </p:nvSpPr>
        <p:spPr>
          <a:xfrm>
            <a:off x="3333276" y="4801315"/>
            <a:ext cx="2349531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>
            <a:lvl1pPr marL="0" marR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lang="de-DE" sz="900" b="0" i="0" kern="1200" baseline="0" dirty="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194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70000"/>
              <a:buFont typeface="Wingdings 3" panose="05040102010807070707" pitchFamily="18" charset="2"/>
              <a:buChar char=""/>
              <a:defRPr sz="900" b="0" i="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 3" panose="05040102010807070707" pitchFamily="18" charset="2"/>
              <a:buChar char="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1000" b="0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artner</a:t>
            </a:r>
          </a:p>
        </p:txBody>
      </p:sp>
      <p:sp>
        <p:nvSpPr>
          <p:cNvPr id="23" name="Textplatzhalter 56">
            <a:extLst>
              <a:ext uri="{FF2B5EF4-FFF2-40B4-BE49-F238E27FC236}">
                <a16:creationId xmlns:a16="http://schemas.microsoft.com/office/drawing/2014/main" id="{20225B8C-C7F3-4788-A02F-B9419FB3A595}"/>
              </a:ext>
            </a:extLst>
          </p:cNvPr>
          <p:cNvSpPr txBox="1">
            <a:spLocks/>
          </p:cNvSpPr>
          <p:nvPr/>
        </p:nvSpPr>
        <p:spPr>
          <a:xfrm>
            <a:off x="3333276" y="5067202"/>
            <a:ext cx="2349531" cy="680165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b"/>
          <a:lstStyle>
            <a:lvl1pPr marL="0" marR="0" indent="0" algn="l" defTabSz="96624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sz="900" b="1" i="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1pPr>
            <a:lvl2pPr marL="194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70000"/>
              <a:buFont typeface="Wingdings 3" panose="05040102010807070707" pitchFamily="18" charset="2"/>
              <a:buChar char=""/>
              <a:defRPr sz="900" b="0" i="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0" indent="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 3" panose="05040102010807070707" pitchFamily="18" charset="2"/>
              <a:buNone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4" indent="0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70000"/>
              <a:buFont typeface="Wingdings 3" panose="05040102010807070707" pitchFamily="18" charset="2"/>
              <a:buNone/>
              <a:tabLst>
                <a:tab pos="180975" algn="l"/>
                <a:tab pos="2058988" algn="r"/>
                <a:tab pos="3230563" algn="l"/>
              </a:tabLst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+43 664 60 375 - 4211</a:t>
            </a:r>
          </a:p>
          <a:p>
            <a:pPr marL="0" marR="0" lvl="4" indent="0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70000"/>
              <a:buFont typeface="Wingdings 3" panose="05040102010807070707" pitchFamily="18" charset="2"/>
              <a:buNone/>
              <a:tabLst>
                <a:tab pos="180975" algn="l"/>
                <a:tab pos="2058988" algn="r"/>
                <a:tab pos="3230563" algn="l"/>
              </a:tabLst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hlinkClick r:id="rId3"/>
              </a:rPr>
              <a:t>ewald.kager@bdo.at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  <a:p>
            <a:pPr marL="0" marR="0" lvl="4" indent="0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70000"/>
              <a:buFont typeface="Wingdings 3" panose="05040102010807070707" pitchFamily="18" charset="2"/>
              <a:buNone/>
              <a:tabLst>
                <a:tab pos="180975" algn="l"/>
                <a:tab pos="2058988" algn="r"/>
                <a:tab pos="3230563" algn="l"/>
              </a:tabLst>
              <a:defRPr/>
            </a:pPr>
            <a:endParaRPr lang="en-GB" sz="1000" dirty="0">
              <a:solidFill>
                <a:srgbClr val="404040"/>
              </a:solidFill>
            </a:endParaRPr>
          </a:p>
          <a:p>
            <a:pPr marL="0" marR="0" lvl="4" indent="0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D1A3B"/>
              </a:buClr>
              <a:buSzPct val="70000"/>
              <a:buFont typeface="Wingdings 3" panose="05040102010807070707" pitchFamily="18" charset="2"/>
              <a:buNone/>
              <a:tabLst>
                <a:tab pos="180975" algn="l"/>
                <a:tab pos="2058988" algn="r"/>
                <a:tab pos="3230563" algn="l"/>
              </a:tabLst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  <a:hlinkClick r:id="rId4"/>
              </a:rPr>
              <a:t>bdo.at/cyber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21020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96CCCA6-C916-4D1E-BACF-4EDB6D8C05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AT" sz="7200" dirty="0"/>
              <a:t>Faktor Mensch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E6D6F5F-1D82-435A-AEFA-3EE34B564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0095BFDC-77A8-4B87-8DEE-42E99273426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Der Faktor Mensch im Fokus der Cyber-Kriminellen</a:t>
            </a:r>
          </a:p>
        </p:txBody>
      </p:sp>
    </p:spTree>
    <p:extLst>
      <p:ext uri="{BB962C8B-B14F-4D97-AF65-F5344CB8AC3E}">
        <p14:creationId xmlns:p14="http://schemas.microsoft.com/office/powerpoint/2010/main" val="913895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>
            <a:extLst>
              <a:ext uri="{FF2B5EF4-FFF2-40B4-BE49-F238E27FC236}">
                <a16:creationId xmlns:a16="http://schemas.microsoft.com/office/drawing/2014/main" id="{271D81AA-4450-4DF0-A67F-A63FE9F00F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2795" y="1291720"/>
            <a:ext cx="3600400" cy="5530772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7E758B7B-370E-42AC-AA34-BCB504F2E9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9193" y="2073892"/>
            <a:ext cx="4680449" cy="3845525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AF9DA68-9990-4D71-8ACF-609E9755DB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Der Faktor Mensch im Fokus der Cyber-Kriminell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1569150-06D5-4D07-AB74-6682DF8DC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Phishing – der Angriff auf die Mitarbeite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C14AF1E-F9B4-4123-8AAD-9EDA770142DB}"/>
              </a:ext>
            </a:extLst>
          </p:cNvPr>
          <p:cNvSpPr/>
          <p:nvPr/>
        </p:nvSpPr>
        <p:spPr>
          <a:xfrm>
            <a:off x="5346700" y="1764407"/>
            <a:ext cx="1152128" cy="4464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B80B308-3BF5-4704-BEA4-36C7D60960E6}"/>
              </a:ext>
            </a:extLst>
          </p:cNvPr>
          <p:cNvCxnSpPr>
            <a:cxnSpLocks/>
          </p:cNvCxnSpPr>
          <p:nvPr/>
        </p:nvCxnSpPr>
        <p:spPr>
          <a:xfrm flipH="1">
            <a:off x="5346700" y="1764407"/>
            <a:ext cx="1152126" cy="0"/>
          </a:xfrm>
          <a:prstGeom prst="line">
            <a:avLst/>
          </a:prstGeom>
          <a:ln w="38100">
            <a:solidFill>
              <a:srgbClr val="ED1A3B"/>
            </a:solidFill>
            <a:headEnd type="oval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Grafik 8">
            <a:extLst>
              <a:ext uri="{FF2B5EF4-FFF2-40B4-BE49-F238E27FC236}">
                <a16:creationId xmlns:a16="http://schemas.microsoft.com/office/drawing/2014/main" id="{426716A6-3589-4DEC-A3E4-F9F3CA74FB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0618" y="1926520"/>
            <a:ext cx="794516" cy="85391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A3C3DA5F-8D6C-4E96-BDEE-4CADD2A547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2570" y="4441093"/>
            <a:ext cx="852564" cy="863310"/>
          </a:xfrm>
          <a:prstGeom prst="rect">
            <a:avLst/>
          </a:prstGeom>
        </p:spPr>
      </p:pic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7B5F8FBA-EC54-4869-A0B7-FFFAB5E05961}"/>
              </a:ext>
            </a:extLst>
          </p:cNvPr>
          <p:cNvCxnSpPr/>
          <p:nvPr/>
        </p:nvCxnSpPr>
        <p:spPr>
          <a:xfrm flipH="1">
            <a:off x="5938313" y="2860812"/>
            <a:ext cx="1" cy="1459879"/>
          </a:xfrm>
          <a:prstGeom prst="straightConnector1">
            <a:avLst/>
          </a:prstGeom>
          <a:ln w="28575">
            <a:solidFill>
              <a:srgbClr val="ED1A3B"/>
            </a:solidFill>
            <a:prstDash val="sysDash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B9FF978D-6B2E-481B-A5B1-E2B2504EDC2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t="8285" b="14846"/>
          <a:stretch/>
        </p:blipFill>
        <p:spPr>
          <a:xfrm>
            <a:off x="5391936" y="3196221"/>
            <a:ext cx="1092756" cy="6480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26381D0-68CC-489F-8615-6BD00564E7B3}"/>
              </a:ext>
            </a:extLst>
          </p:cNvPr>
          <p:cNvCxnSpPr>
            <a:cxnSpLocks/>
          </p:cNvCxnSpPr>
          <p:nvPr/>
        </p:nvCxnSpPr>
        <p:spPr>
          <a:xfrm>
            <a:off x="5024364" y="3520257"/>
            <a:ext cx="466352" cy="0"/>
          </a:xfrm>
          <a:prstGeom prst="line">
            <a:avLst/>
          </a:prstGeom>
          <a:ln w="28575">
            <a:solidFill>
              <a:schemeClr val="tx1"/>
            </a:solidFill>
            <a:headEnd type="none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EB7AEAAD-4028-4675-AA4A-FC34D1691BD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4871" y="5401246"/>
            <a:ext cx="493879" cy="493879"/>
          </a:xfrm>
          <a:prstGeom prst="rect">
            <a:avLst/>
          </a:prstGeom>
        </p:spPr>
      </p:pic>
      <p:sp>
        <p:nvSpPr>
          <p:cNvPr id="15" name="Freihandform 49">
            <a:extLst>
              <a:ext uri="{FF2B5EF4-FFF2-40B4-BE49-F238E27FC236}">
                <a16:creationId xmlns:a16="http://schemas.microsoft.com/office/drawing/2014/main" id="{FDA18A61-0CE8-46D3-82E4-14ECFB11396A}"/>
              </a:ext>
            </a:extLst>
          </p:cNvPr>
          <p:cNvSpPr/>
          <p:nvPr/>
        </p:nvSpPr>
        <p:spPr>
          <a:xfrm>
            <a:off x="2940902" y="5519727"/>
            <a:ext cx="4339945" cy="195525"/>
          </a:xfrm>
          <a:custGeom>
            <a:avLst/>
            <a:gdLst>
              <a:gd name="connsiteX0" fmla="*/ 0 w 7272670"/>
              <a:gd name="connsiteY0" fmla="*/ 372139 h 416296"/>
              <a:gd name="connsiteX1" fmla="*/ 4210493 w 7272670"/>
              <a:gd name="connsiteY1" fmla="*/ 382772 h 416296"/>
              <a:gd name="connsiteX2" fmla="*/ 7272670 w 7272670"/>
              <a:gd name="connsiteY2" fmla="*/ 0 h 416296"/>
              <a:gd name="connsiteX0" fmla="*/ 0 w 7272670"/>
              <a:gd name="connsiteY0" fmla="*/ 372139 h 662044"/>
              <a:gd name="connsiteX1" fmla="*/ 5316058 w 7272670"/>
              <a:gd name="connsiteY1" fmla="*/ 653806 h 662044"/>
              <a:gd name="connsiteX2" fmla="*/ 7272670 w 7272670"/>
              <a:gd name="connsiteY2" fmla="*/ 0 h 662044"/>
              <a:gd name="connsiteX0" fmla="*/ 0 w 7214859"/>
              <a:gd name="connsiteY0" fmla="*/ 486770 h 672168"/>
              <a:gd name="connsiteX1" fmla="*/ 5258247 w 7214859"/>
              <a:gd name="connsiteY1" fmla="*/ 653806 h 672168"/>
              <a:gd name="connsiteX2" fmla="*/ 7214859 w 7214859"/>
              <a:gd name="connsiteY2" fmla="*/ 0 h 672168"/>
              <a:gd name="connsiteX0" fmla="*/ 0 w 7132893"/>
              <a:gd name="connsiteY0" fmla="*/ 195580 h 366892"/>
              <a:gd name="connsiteX1" fmla="*/ 5258247 w 7132893"/>
              <a:gd name="connsiteY1" fmla="*/ 362616 h 366892"/>
              <a:gd name="connsiteX2" fmla="*/ 7132893 w 7132893"/>
              <a:gd name="connsiteY2" fmla="*/ 0 h 366892"/>
              <a:gd name="connsiteX0" fmla="*/ 0 w 7132893"/>
              <a:gd name="connsiteY0" fmla="*/ 195580 h 366892"/>
              <a:gd name="connsiteX1" fmla="*/ 5258247 w 7132893"/>
              <a:gd name="connsiteY1" fmla="*/ 362616 h 366892"/>
              <a:gd name="connsiteX2" fmla="*/ 7132893 w 7132893"/>
              <a:gd name="connsiteY2" fmla="*/ 0 h 366892"/>
              <a:gd name="connsiteX0" fmla="*/ 0 w 7132893"/>
              <a:gd name="connsiteY0" fmla="*/ 298455 h 301503"/>
              <a:gd name="connsiteX1" fmla="*/ 5370892 w 7132893"/>
              <a:gd name="connsiteY1" fmla="*/ 2528 h 301503"/>
              <a:gd name="connsiteX2" fmla="*/ 7132893 w 7132893"/>
              <a:gd name="connsiteY2" fmla="*/ 102875 h 301503"/>
              <a:gd name="connsiteX0" fmla="*/ 0 w 7132893"/>
              <a:gd name="connsiteY0" fmla="*/ 301995 h 305043"/>
              <a:gd name="connsiteX1" fmla="*/ 5370892 w 7132893"/>
              <a:gd name="connsiteY1" fmla="*/ 6068 h 305043"/>
              <a:gd name="connsiteX2" fmla="*/ 7132893 w 7132893"/>
              <a:gd name="connsiteY2" fmla="*/ 106415 h 305043"/>
              <a:gd name="connsiteX0" fmla="*/ 0 w 7293715"/>
              <a:gd name="connsiteY0" fmla="*/ 191274 h 195470"/>
              <a:gd name="connsiteX1" fmla="*/ 5531714 w 7293715"/>
              <a:gd name="connsiteY1" fmla="*/ 1643 h 195470"/>
              <a:gd name="connsiteX2" fmla="*/ 7293715 w 7293715"/>
              <a:gd name="connsiteY2" fmla="*/ 101990 h 195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93715" h="195470">
                <a:moveTo>
                  <a:pt x="0" y="191274"/>
                </a:moveTo>
                <a:cubicBezTo>
                  <a:pt x="1499191" y="227602"/>
                  <a:pt x="4316095" y="16524"/>
                  <a:pt x="5531714" y="1643"/>
                </a:cubicBezTo>
                <a:cubicBezTo>
                  <a:pt x="6747333" y="-13238"/>
                  <a:pt x="6691300" y="77228"/>
                  <a:pt x="7293715" y="101990"/>
                </a:cubicBezTo>
              </a:path>
            </a:pathLst>
          </a:custGeom>
          <a:ln w="28575">
            <a:solidFill>
              <a:srgbClr val="ED1A3B"/>
            </a:solidFill>
            <a:prstDash val="sysDash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9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Freihandform 54">
            <a:extLst>
              <a:ext uri="{FF2B5EF4-FFF2-40B4-BE49-F238E27FC236}">
                <a16:creationId xmlns:a16="http://schemas.microsoft.com/office/drawing/2014/main" id="{DEFFC3C7-071C-4598-AE6A-F32ABF649762}"/>
              </a:ext>
            </a:extLst>
          </p:cNvPr>
          <p:cNvSpPr/>
          <p:nvPr/>
        </p:nvSpPr>
        <p:spPr>
          <a:xfrm rot="13969400">
            <a:off x="6124488" y="2972575"/>
            <a:ext cx="1997228" cy="429934"/>
          </a:xfrm>
          <a:custGeom>
            <a:avLst/>
            <a:gdLst>
              <a:gd name="connsiteX0" fmla="*/ 0 w 7272670"/>
              <a:gd name="connsiteY0" fmla="*/ 372139 h 416296"/>
              <a:gd name="connsiteX1" fmla="*/ 4210493 w 7272670"/>
              <a:gd name="connsiteY1" fmla="*/ 382772 h 416296"/>
              <a:gd name="connsiteX2" fmla="*/ 7272670 w 7272670"/>
              <a:gd name="connsiteY2" fmla="*/ 0 h 416296"/>
              <a:gd name="connsiteX0" fmla="*/ 0 w 7272670"/>
              <a:gd name="connsiteY0" fmla="*/ 372139 h 662044"/>
              <a:gd name="connsiteX1" fmla="*/ 5316058 w 7272670"/>
              <a:gd name="connsiteY1" fmla="*/ 653806 h 662044"/>
              <a:gd name="connsiteX2" fmla="*/ 7272670 w 7272670"/>
              <a:gd name="connsiteY2" fmla="*/ 0 h 662044"/>
              <a:gd name="connsiteX0" fmla="*/ 0 w 7214859"/>
              <a:gd name="connsiteY0" fmla="*/ 486770 h 672168"/>
              <a:gd name="connsiteX1" fmla="*/ 5258247 w 7214859"/>
              <a:gd name="connsiteY1" fmla="*/ 653806 h 672168"/>
              <a:gd name="connsiteX2" fmla="*/ 7214859 w 7214859"/>
              <a:gd name="connsiteY2" fmla="*/ 0 h 672168"/>
              <a:gd name="connsiteX0" fmla="*/ 0 w 7132893"/>
              <a:gd name="connsiteY0" fmla="*/ 195580 h 366892"/>
              <a:gd name="connsiteX1" fmla="*/ 5258247 w 7132893"/>
              <a:gd name="connsiteY1" fmla="*/ 362616 h 366892"/>
              <a:gd name="connsiteX2" fmla="*/ 7132893 w 7132893"/>
              <a:gd name="connsiteY2" fmla="*/ 0 h 366892"/>
              <a:gd name="connsiteX0" fmla="*/ 0 w 7132893"/>
              <a:gd name="connsiteY0" fmla="*/ 195580 h 366892"/>
              <a:gd name="connsiteX1" fmla="*/ 5258247 w 7132893"/>
              <a:gd name="connsiteY1" fmla="*/ 362616 h 366892"/>
              <a:gd name="connsiteX2" fmla="*/ 7132893 w 7132893"/>
              <a:gd name="connsiteY2" fmla="*/ 0 h 366892"/>
              <a:gd name="connsiteX0" fmla="*/ 0 w 7132893"/>
              <a:gd name="connsiteY0" fmla="*/ 195580 h 322372"/>
              <a:gd name="connsiteX1" fmla="*/ 3187720 w 7132893"/>
              <a:gd name="connsiteY1" fmla="*/ 316718 h 322372"/>
              <a:gd name="connsiteX2" fmla="*/ 7132893 w 7132893"/>
              <a:gd name="connsiteY2" fmla="*/ 0 h 322372"/>
              <a:gd name="connsiteX0" fmla="*/ 0 w 6716464"/>
              <a:gd name="connsiteY0" fmla="*/ 224142 h 325363"/>
              <a:gd name="connsiteX1" fmla="*/ 2771291 w 6716464"/>
              <a:gd name="connsiteY1" fmla="*/ 316718 h 325363"/>
              <a:gd name="connsiteX2" fmla="*/ 6716464 w 6716464"/>
              <a:gd name="connsiteY2" fmla="*/ 0 h 325363"/>
              <a:gd name="connsiteX0" fmla="*/ 0 w 6716464"/>
              <a:gd name="connsiteY0" fmla="*/ 224142 h 328336"/>
              <a:gd name="connsiteX1" fmla="*/ 2771291 w 6716464"/>
              <a:gd name="connsiteY1" fmla="*/ 316718 h 328336"/>
              <a:gd name="connsiteX2" fmla="*/ 6716464 w 6716464"/>
              <a:gd name="connsiteY2" fmla="*/ 0 h 328336"/>
              <a:gd name="connsiteX0" fmla="*/ 0 w 6838188"/>
              <a:gd name="connsiteY0" fmla="*/ 207641 h 325642"/>
              <a:gd name="connsiteX1" fmla="*/ 2893015 w 6838188"/>
              <a:gd name="connsiteY1" fmla="*/ 316718 h 325642"/>
              <a:gd name="connsiteX2" fmla="*/ 6838188 w 6838188"/>
              <a:gd name="connsiteY2" fmla="*/ 0 h 325642"/>
              <a:gd name="connsiteX0" fmla="*/ 0 w 6838188"/>
              <a:gd name="connsiteY0" fmla="*/ 207641 h 285532"/>
              <a:gd name="connsiteX1" fmla="*/ 3029199 w 6838188"/>
              <a:gd name="connsiteY1" fmla="*/ 270321 h 285532"/>
              <a:gd name="connsiteX2" fmla="*/ 6838188 w 6838188"/>
              <a:gd name="connsiteY2" fmla="*/ 0 h 285532"/>
              <a:gd name="connsiteX0" fmla="*/ 0 w 6838188"/>
              <a:gd name="connsiteY0" fmla="*/ 207641 h 282248"/>
              <a:gd name="connsiteX1" fmla="*/ 3029199 w 6838188"/>
              <a:gd name="connsiteY1" fmla="*/ 270321 h 282248"/>
              <a:gd name="connsiteX2" fmla="*/ 6838188 w 6838188"/>
              <a:gd name="connsiteY2" fmla="*/ 0 h 282248"/>
              <a:gd name="connsiteX0" fmla="*/ 0 w 6457810"/>
              <a:gd name="connsiteY0" fmla="*/ 180079 h 255949"/>
              <a:gd name="connsiteX1" fmla="*/ 3029199 w 6457810"/>
              <a:gd name="connsiteY1" fmla="*/ 242759 h 255949"/>
              <a:gd name="connsiteX2" fmla="*/ 6457810 w 6457810"/>
              <a:gd name="connsiteY2" fmla="*/ 0 h 255949"/>
              <a:gd name="connsiteX0" fmla="*/ 0 w 6457810"/>
              <a:gd name="connsiteY0" fmla="*/ 180079 h 255949"/>
              <a:gd name="connsiteX1" fmla="*/ 3029199 w 6457810"/>
              <a:gd name="connsiteY1" fmla="*/ 242759 h 255949"/>
              <a:gd name="connsiteX2" fmla="*/ 6457810 w 6457810"/>
              <a:gd name="connsiteY2" fmla="*/ 0 h 25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57810" h="255949">
                <a:moveTo>
                  <a:pt x="0" y="180079"/>
                </a:moveTo>
                <a:cubicBezTo>
                  <a:pt x="1307886" y="251439"/>
                  <a:pt x="1952897" y="272772"/>
                  <a:pt x="3029199" y="242759"/>
                </a:cubicBezTo>
                <a:cubicBezTo>
                  <a:pt x="4105501" y="212746"/>
                  <a:pt x="5407655" y="140482"/>
                  <a:pt x="6457810" y="0"/>
                </a:cubicBezTo>
              </a:path>
            </a:pathLst>
          </a:custGeom>
          <a:ln w="28575">
            <a:solidFill>
              <a:srgbClr val="ED1A3B"/>
            </a:solidFill>
            <a:prstDash val="sysDash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9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C7E4C8A-52C1-4982-9333-1DC0DEBC8273}"/>
              </a:ext>
            </a:extLst>
          </p:cNvPr>
          <p:cNvSpPr/>
          <p:nvPr/>
        </p:nvSpPr>
        <p:spPr>
          <a:xfrm rot="20263249">
            <a:off x="8416760" y="4273435"/>
            <a:ext cx="126848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3600" b="1" i="0" u="none" strike="noStrike" kern="1200" cap="none" spc="0" normalizeH="0" baseline="0" noProof="0" dirty="0">
                <a:ln>
                  <a:noFill/>
                </a:ln>
                <a:solidFill>
                  <a:srgbClr val="ED1A3B"/>
                </a:solidFill>
                <a:effectLst/>
                <a:uLnTx/>
                <a:uFillTx/>
                <a:latin typeface="Trebuchet MS"/>
                <a:ea typeface="+mn-ea"/>
                <a:cs typeface="MV Boli" panose="02000500030200090000" pitchFamily="2" charset="0"/>
              </a:rPr>
              <a:t>FAKE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437CD040-B76E-496D-B662-F06FBBCE1FE2}"/>
              </a:ext>
            </a:extLst>
          </p:cNvPr>
          <p:cNvSpPr/>
          <p:nvPr/>
        </p:nvSpPr>
        <p:spPr>
          <a:xfrm>
            <a:off x="5272800" y="3137967"/>
            <a:ext cx="288032" cy="2880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1E358791-BA04-4C46-9C21-5DC7804D82DE}"/>
              </a:ext>
            </a:extLst>
          </p:cNvPr>
          <p:cNvSpPr/>
          <p:nvPr/>
        </p:nvSpPr>
        <p:spPr>
          <a:xfrm>
            <a:off x="3028701" y="5375711"/>
            <a:ext cx="288032" cy="2880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EA446FC7-7C33-4D7E-B866-C57F56A6661B}"/>
              </a:ext>
            </a:extLst>
          </p:cNvPr>
          <p:cNvSpPr/>
          <p:nvPr/>
        </p:nvSpPr>
        <p:spPr>
          <a:xfrm>
            <a:off x="7145144" y="5083364"/>
            <a:ext cx="288032" cy="2880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4CF47498-C628-4979-9144-AB6094E497D9}"/>
              </a:ext>
            </a:extLst>
          </p:cNvPr>
          <p:cNvSpPr/>
          <p:nvPr/>
        </p:nvSpPr>
        <p:spPr>
          <a:xfrm>
            <a:off x="6850392" y="2373063"/>
            <a:ext cx="288032" cy="2880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7672036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983E1B21-C7B9-41E1-8D49-5FDD62F77721}"/>
              </a:ext>
            </a:extLst>
          </p:cNvPr>
          <p:cNvSpPr/>
          <p:nvPr/>
        </p:nvSpPr>
        <p:spPr>
          <a:xfrm>
            <a:off x="0" y="1404938"/>
            <a:ext cx="10693400" cy="5256212"/>
          </a:xfrm>
          <a:prstGeom prst="rect">
            <a:avLst/>
          </a:prstGeom>
          <a:solidFill>
            <a:srgbClr val="E0E5E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9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4437411-DC09-4444-8CC2-5FA974ED5CF4}"/>
              </a:ext>
            </a:extLst>
          </p:cNvPr>
          <p:cNvGrpSpPr/>
          <p:nvPr/>
        </p:nvGrpSpPr>
        <p:grpSpPr>
          <a:xfrm>
            <a:off x="-1" y="6454220"/>
            <a:ext cx="4230142" cy="389266"/>
            <a:chOff x="-1" y="6468734"/>
            <a:chExt cx="4230142" cy="389266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E547A075-3AC0-4DC9-944A-00AB174ABE7C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3840875" y="6468734"/>
              <a:ext cx="389266" cy="389266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C0A4CBC-915C-4B17-BDF4-98CFEED626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" y="6663367"/>
              <a:ext cx="4035509" cy="0"/>
            </a:xfrm>
            <a:prstGeom prst="line">
              <a:avLst/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69B83B1-925E-423B-A90A-289551FE7F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Der Faktor Mensch im Fokus der Cyber-Kriminell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B079FD5-CB33-452B-9D6E-9A54CE200A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Phishing – der Angriff auf die Mitarbeiter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77674DD-3CFB-42E3-B756-47C07A45C2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2209" y="1777812"/>
            <a:ext cx="4944491" cy="1398043"/>
          </a:xfrm>
          <a:prstGeom prst="rect">
            <a:avLst/>
          </a:prstGeom>
          <a:ln>
            <a:solidFill>
              <a:srgbClr val="657C91"/>
            </a:solidFill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D6905BB-9655-417B-AFB1-80A41E5400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9583" y="1763713"/>
            <a:ext cx="3891608" cy="3782293"/>
          </a:xfrm>
          <a:prstGeom prst="rect">
            <a:avLst/>
          </a:prstGeom>
          <a:ln>
            <a:solidFill>
              <a:srgbClr val="657C91"/>
            </a:solidFill>
          </a:ln>
        </p:spPr>
      </p:pic>
      <p:sp>
        <p:nvSpPr>
          <p:cNvPr id="11" name="Pfeil: nach rechts 10">
            <a:extLst>
              <a:ext uri="{FF2B5EF4-FFF2-40B4-BE49-F238E27FC236}">
                <a16:creationId xmlns:a16="http://schemas.microsoft.com/office/drawing/2014/main" id="{AAD2E8DF-F536-4DAC-978D-5805A27B71D5}"/>
              </a:ext>
            </a:extLst>
          </p:cNvPr>
          <p:cNvSpPr/>
          <p:nvPr/>
        </p:nvSpPr>
        <p:spPr>
          <a:xfrm>
            <a:off x="5447316" y="2484487"/>
            <a:ext cx="871908" cy="576064"/>
          </a:xfrm>
          <a:prstGeom prst="rightArrow">
            <a:avLst/>
          </a:prstGeom>
          <a:solidFill>
            <a:srgbClr val="657C91"/>
          </a:solidFill>
          <a:ln w="9525">
            <a:solidFill>
              <a:srgbClr val="657C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52D16DB-8437-4D20-A104-901B6A70AF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4743" y="3829496"/>
            <a:ext cx="2279655" cy="1621359"/>
          </a:xfrm>
          <a:prstGeom prst="rect">
            <a:avLst/>
          </a:prstGeom>
          <a:ln>
            <a:solidFill>
              <a:srgbClr val="657C91"/>
            </a:solidFill>
          </a:ln>
        </p:spPr>
      </p:pic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7DE6BB21-4597-4F39-96F5-E536C75CB422}"/>
              </a:ext>
            </a:extLst>
          </p:cNvPr>
          <p:cNvSpPr/>
          <p:nvPr/>
        </p:nvSpPr>
        <p:spPr>
          <a:xfrm rot="10800000">
            <a:off x="5367199" y="4212680"/>
            <a:ext cx="871908" cy="576064"/>
          </a:xfrm>
          <a:prstGeom prst="rightArrow">
            <a:avLst/>
          </a:prstGeom>
          <a:solidFill>
            <a:srgbClr val="657C91"/>
          </a:solidFill>
          <a:ln w="9525">
            <a:solidFill>
              <a:srgbClr val="657C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F1CE6CC2-8317-4C5D-B425-F6E9EC3DD837}"/>
              </a:ext>
            </a:extLst>
          </p:cNvPr>
          <p:cNvSpPr/>
          <p:nvPr/>
        </p:nvSpPr>
        <p:spPr>
          <a:xfrm>
            <a:off x="252859" y="1633796"/>
            <a:ext cx="288032" cy="2880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347466C4-C7E9-44AA-AA52-4C13426B10FF}"/>
              </a:ext>
            </a:extLst>
          </p:cNvPr>
          <p:cNvSpPr/>
          <p:nvPr/>
        </p:nvSpPr>
        <p:spPr>
          <a:xfrm>
            <a:off x="6239107" y="1581452"/>
            <a:ext cx="288032" cy="2880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FCA3E448-BBD5-42D8-A4F2-FAE9C9A45F3E}"/>
              </a:ext>
            </a:extLst>
          </p:cNvPr>
          <p:cNvSpPr/>
          <p:nvPr/>
        </p:nvSpPr>
        <p:spPr>
          <a:xfrm>
            <a:off x="2730438" y="3685480"/>
            <a:ext cx="288032" cy="288032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82" tIns="76082" rIns="76082" bIns="76082" rtlCol="0" anchor="ctr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D58EE61-1086-464F-8289-867347E17410}"/>
              </a:ext>
            </a:extLst>
          </p:cNvPr>
          <p:cNvSpPr/>
          <p:nvPr/>
        </p:nvSpPr>
        <p:spPr>
          <a:xfrm>
            <a:off x="390940" y="5841273"/>
            <a:ext cx="7560840" cy="473509"/>
          </a:xfrm>
          <a:prstGeom prst="rect">
            <a:avLst/>
          </a:prstGeom>
          <a:solidFill>
            <a:srgbClr val="ED1A3B"/>
          </a:solidFill>
          <a:ln w="9525">
            <a:solidFill>
              <a:srgbClr val="ED1A3B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de-AT" sz="1600" b="1" dirty="0">
                <a:solidFill>
                  <a:schemeClr val="bg1"/>
                </a:solidFill>
                <a:sym typeface="Arial"/>
              </a:rPr>
              <a:t>        1.895 potenzielle Angriffsziele in 15 Minuten Recherche!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6D14C24-1CF9-4B95-AE9E-791DE6F03F3A}"/>
              </a:ext>
            </a:extLst>
          </p:cNvPr>
          <p:cNvSpPr/>
          <p:nvPr/>
        </p:nvSpPr>
        <p:spPr>
          <a:xfrm>
            <a:off x="-198458" y="5841273"/>
            <a:ext cx="589398" cy="473509"/>
          </a:xfrm>
          <a:prstGeom prst="rect">
            <a:avLst/>
          </a:prstGeom>
          <a:solidFill>
            <a:srgbClr val="ED1A3B"/>
          </a:solidFill>
          <a:ln w="9525">
            <a:solidFill>
              <a:srgbClr val="ED1A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7561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C8F122-FF48-41E2-BA5C-F7C1AE0313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Phishing – der Angriff auf die Mitarbeiter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C237A4-2F3E-419D-83F0-67D2176D32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Der Faktor Mensch im Fokus der Cyber-Kriminell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E7AA734-1692-470E-9511-A679E2C8F5EA}"/>
              </a:ext>
            </a:extLst>
          </p:cNvPr>
          <p:cNvSpPr txBox="1"/>
          <p:nvPr/>
        </p:nvSpPr>
        <p:spPr>
          <a:xfrm>
            <a:off x="6343608" y="6712881"/>
            <a:ext cx="3956091" cy="288032"/>
          </a:xfrm>
          <a:prstGeom prst="rect">
            <a:avLst/>
          </a:prstGeom>
          <a:noFill/>
        </p:spPr>
        <p:txBody>
          <a:bodyPr wrap="none" lIns="36000" tIns="36000" rIns="36000" bIns="36000" rtlCol="0" anchor="t" anchorCtr="0">
            <a:noAutofit/>
          </a:bodyPr>
          <a:lstStyle/>
          <a:p>
            <a:pPr algn="l" defTabSz="1008044"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de-AT" sz="800" i="1" dirty="0">
                <a:sym typeface="Arial"/>
              </a:rPr>
              <a:t>*Auswertung der von BDO durchgeführten Phishing-Simulationen (n=17.300 E-Mails)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25D4DB8A-D6A5-4D4C-849E-B815710BD628}"/>
              </a:ext>
            </a:extLst>
          </p:cNvPr>
          <p:cNvGrpSpPr/>
          <p:nvPr/>
        </p:nvGrpSpPr>
        <p:grpSpPr>
          <a:xfrm>
            <a:off x="2311732" y="2364607"/>
            <a:ext cx="1843555" cy="1843555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1CB91FCF-1244-44A8-A250-91ECA4CEE01A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44" name="Google Shape;1029;p25">
                <a:extLst>
                  <a:ext uri="{FF2B5EF4-FFF2-40B4-BE49-F238E27FC236}">
                    <a16:creationId xmlns:a16="http://schemas.microsoft.com/office/drawing/2014/main" id="{062E7AAD-33BE-4626-B189-22C204E62731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45" name="Google Shape;1032;p25">
                <a:extLst>
                  <a:ext uri="{FF2B5EF4-FFF2-40B4-BE49-F238E27FC236}">
                    <a16:creationId xmlns:a16="http://schemas.microsoft.com/office/drawing/2014/main" id="{33951364-71CF-47D6-AE61-789C17F7BFF1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F16EF021-E8EB-4C58-92F9-46CCA9528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A4A71EC5-EBD8-42E0-8434-F5FB7DE2C55C}"/>
              </a:ext>
            </a:extLst>
          </p:cNvPr>
          <p:cNvGrpSpPr/>
          <p:nvPr/>
        </p:nvGrpSpPr>
        <p:grpSpPr>
          <a:xfrm>
            <a:off x="2990876" y="5199582"/>
            <a:ext cx="1843555" cy="1843555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A5357C5A-01D7-47AD-8840-DF2AE8AD0D71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49" name="Google Shape;1029;p25">
                <a:extLst>
                  <a:ext uri="{FF2B5EF4-FFF2-40B4-BE49-F238E27FC236}">
                    <a16:creationId xmlns:a16="http://schemas.microsoft.com/office/drawing/2014/main" id="{9390A91F-AC1F-48E3-9376-B91E21E65B95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50" name="Google Shape;1032;p25">
                <a:extLst>
                  <a:ext uri="{FF2B5EF4-FFF2-40B4-BE49-F238E27FC236}">
                    <a16:creationId xmlns:a16="http://schemas.microsoft.com/office/drawing/2014/main" id="{07E6198D-F0AF-49F6-9E0F-B4DA536DBE36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7B718A8F-6467-4A4F-A134-985BC98184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E47541F9-BE6B-4CF0-BACB-8F446983390F}"/>
              </a:ext>
            </a:extLst>
          </p:cNvPr>
          <p:cNvGrpSpPr/>
          <p:nvPr/>
        </p:nvGrpSpPr>
        <p:grpSpPr>
          <a:xfrm>
            <a:off x="3828120" y="4568076"/>
            <a:ext cx="1001670" cy="1001670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7380715E-84D5-4CCC-8C92-57D94F6BD292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54" name="Google Shape;1029;p25">
                <a:extLst>
                  <a:ext uri="{FF2B5EF4-FFF2-40B4-BE49-F238E27FC236}">
                    <a16:creationId xmlns:a16="http://schemas.microsoft.com/office/drawing/2014/main" id="{ABDBF4EB-B7DF-4202-B362-D69AB6B02555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55" name="Google Shape;1032;p25">
                <a:extLst>
                  <a:ext uri="{FF2B5EF4-FFF2-40B4-BE49-F238E27FC236}">
                    <a16:creationId xmlns:a16="http://schemas.microsoft.com/office/drawing/2014/main" id="{D8002FE9-7ECD-4662-9706-D7ED7D1E0AC0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33DB5A4F-8D0F-4976-87C6-0395AEEA9F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D2001A79-A38B-4CC7-9A33-6C9111555A38}"/>
              </a:ext>
            </a:extLst>
          </p:cNvPr>
          <p:cNvGrpSpPr/>
          <p:nvPr/>
        </p:nvGrpSpPr>
        <p:grpSpPr>
          <a:xfrm>
            <a:off x="4779898" y="4445623"/>
            <a:ext cx="1001670" cy="1001670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792362BE-6CA7-4833-ADF9-883D0E6480DD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64" name="Google Shape;1029;p25">
                <a:extLst>
                  <a:ext uri="{FF2B5EF4-FFF2-40B4-BE49-F238E27FC236}">
                    <a16:creationId xmlns:a16="http://schemas.microsoft.com/office/drawing/2014/main" id="{82DFED53-10A0-4DBC-8EA7-21F7D47B5724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65" name="Google Shape;1032;p25">
                <a:extLst>
                  <a:ext uri="{FF2B5EF4-FFF2-40B4-BE49-F238E27FC236}">
                    <a16:creationId xmlns:a16="http://schemas.microsoft.com/office/drawing/2014/main" id="{A9344B49-4894-4273-A8FE-3ED662B48245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FB49593A-6874-4F94-8A3B-ECFE3EA96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85FAA197-44CA-47A7-AFF2-42689136272E}"/>
              </a:ext>
            </a:extLst>
          </p:cNvPr>
          <p:cNvGrpSpPr/>
          <p:nvPr/>
        </p:nvGrpSpPr>
        <p:grpSpPr>
          <a:xfrm>
            <a:off x="3961088" y="3653799"/>
            <a:ext cx="1001670" cy="1001670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8EA3446F-FDBE-496D-B625-DFCE3A7AE5A6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69" name="Google Shape;1029;p25">
                <a:extLst>
                  <a:ext uri="{FF2B5EF4-FFF2-40B4-BE49-F238E27FC236}">
                    <a16:creationId xmlns:a16="http://schemas.microsoft.com/office/drawing/2014/main" id="{EAA16D66-0C98-420D-8D37-4C34846F5382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70" name="Google Shape;1032;p25">
                <a:extLst>
                  <a:ext uri="{FF2B5EF4-FFF2-40B4-BE49-F238E27FC236}">
                    <a16:creationId xmlns:a16="http://schemas.microsoft.com/office/drawing/2014/main" id="{C8BF349D-AFEF-4E7F-B5EA-F785128263A1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68" name="Grafik 67">
              <a:extLst>
                <a:ext uri="{FF2B5EF4-FFF2-40B4-BE49-F238E27FC236}">
                  <a16:creationId xmlns:a16="http://schemas.microsoft.com/office/drawing/2014/main" id="{6175602E-95CF-471C-9BAF-A8BB93FF9B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68550BF8-629E-4401-8116-CA916BF342E7}"/>
              </a:ext>
            </a:extLst>
          </p:cNvPr>
          <p:cNvGrpSpPr/>
          <p:nvPr/>
        </p:nvGrpSpPr>
        <p:grpSpPr>
          <a:xfrm>
            <a:off x="3919222" y="2636424"/>
            <a:ext cx="1001670" cy="1001670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72" name="Gruppieren 71">
              <a:extLst>
                <a:ext uri="{FF2B5EF4-FFF2-40B4-BE49-F238E27FC236}">
                  <a16:creationId xmlns:a16="http://schemas.microsoft.com/office/drawing/2014/main" id="{A59D4115-6B55-448C-A9D2-A92E40CC6E93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74" name="Google Shape;1029;p25">
                <a:extLst>
                  <a:ext uri="{FF2B5EF4-FFF2-40B4-BE49-F238E27FC236}">
                    <a16:creationId xmlns:a16="http://schemas.microsoft.com/office/drawing/2014/main" id="{F53ED53F-F4EF-4282-9CCA-55CB228412FD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75" name="Google Shape;1032;p25">
                <a:extLst>
                  <a:ext uri="{FF2B5EF4-FFF2-40B4-BE49-F238E27FC236}">
                    <a16:creationId xmlns:a16="http://schemas.microsoft.com/office/drawing/2014/main" id="{96E81B6D-CAED-4987-A509-674C3DAA9FE2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73" name="Grafik 72">
              <a:extLst>
                <a:ext uri="{FF2B5EF4-FFF2-40B4-BE49-F238E27FC236}">
                  <a16:creationId xmlns:a16="http://schemas.microsoft.com/office/drawing/2014/main" id="{C80006FE-3292-45AE-9484-9001D37EB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57184495-24BA-48B7-A573-9B4825E5BF14}"/>
              </a:ext>
            </a:extLst>
          </p:cNvPr>
          <p:cNvGrpSpPr/>
          <p:nvPr/>
        </p:nvGrpSpPr>
        <p:grpSpPr>
          <a:xfrm>
            <a:off x="4919906" y="2399746"/>
            <a:ext cx="1001670" cy="1001670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77" name="Gruppieren 76">
              <a:extLst>
                <a:ext uri="{FF2B5EF4-FFF2-40B4-BE49-F238E27FC236}">
                  <a16:creationId xmlns:a16="http://schemas.microsoft.com/office/drawing/2014/main" id="{929BC0BA-42E6-4955-B985-862FE284C21B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79" name="Google Shape;1029;p25">
                <a:extLst>
                  <a:ext uri="{FF2B5EF4-FFF2-40B4-BE49-F238E27FC236}">
                    <a16:creationId xmlns:a16="http://schemas.microsoft.com/office/drawing/2014/main" id="{FA8B792B-8A97-405D-8CD5-E58BA35C4B8F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0" name="Google Shape;1032;p25">
                <a:extLst>
                  <a:ext uri="{FF2B5EF4-FFF2-40B4-BE49-F238E27FC236}">
                    <a16:creationId xmlns:a16="http://schemas.microsoft.com/office/drawing/2014/main" id="{33632B01-6ABC-46D3-8C40-D2D05C1465B3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78" name="Grafik 77">
              <a:extLst>
                <a:ext uri="{FF2B5EF4-FFF2-40B4-BE49-F238E27FC236}">
                  <a16:creationId xmlns:a16="http://schemas.microsoft.com/office/drawing/2014/main" id="{F286D465-9099-47B6-93CE-D5BC7EC9B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81" name="Gruppieren 80">
            <a:extLst>
              <a:ext uri="{FF2B5EF4-FFF2-40B4-BE49-F238E27FC236}">
                <a16:creationId xmlns:a16="http://schemas.microsoft.com/office/drawing/2014/main" id="{422EC81B-2BBC-49EF-8A8E-78A80F481639}"/>
              </a:ext>
            </a:extLst>
          </p:cNvPr>
          <p:cNvGrpSpPr/>
          <p:nvPr/>
        </p:nvGrpSpPr>
        <p:grpSpPr>
          <a:xfrm>
            <a:off x="6159218" y="3566406"/>
            <a:ext cx="1001670" cy="1001670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D9F4B119-468F-4D93-8FBF-85FBDA434372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84" name="Google Shape;1029;p25">
                <a:extLst>
                  <a:ext uri="{FF2B5EF4-FFF2-40B4-BE49-F238E27FC236}">
                    <a16:creationId xmlns:a16="http://schemas.microsoft.com/office/drawing/2014/main" id="{DDC1428C-D0C2-4096-9CCF-4A819852840A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5" name="Google Shape;1032;p25">
                <a:extLst>
                  <a:ext uri="{FF2B5EF4-FFF2-40B4-BE49-F238E27FC236}">
                    <a16:creationId xmlns:a16="http://schemas.microsoft.com/office/drawing/2014/main" id="{1BDA19D0-A727-4864-AE07-2F536ED2F3BF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83" name="Grafik 82">
              <a:extLst>
                <a:ext uri="{FF2B5EF4-FFF2-40B4-BE49-F238E27FC236}">
                  <a16:creationId xmlns:a16="http://schemas.microsoft.com/office/drawing/2014/main" id="{441D4FC1-2207-49C6-A37A-6624B9E3A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61154693-73D0-45C6-A747-FC5BC99D9C9D}"/>
              </a:ext>
            </a:extLst>
          </p:cNvPr>
          <p:cNvGrpSpPr/>
          <p:nvPr/>
        </p:nvGrpSpPr>
        <p:grpSpPr>
          <a:xfrm>
            <a:off x="5400182" y="3712463"/>
            <a:ext cx="1001670" cy="1001670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E1CA9D0C-BA86-4360-A1B1-F2E42963C97E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89" name="Google Shape;1029;p25">
                <a:extLst>
                  <a:ext uri="{FF2B5EF4-FFF2-40B4-BE49-F238E27FC236}">
                    <a16:creationId xmlns:a16="http://schemas.microsoft.com/office/drawing/2014/main" id="{1FB3654E-8DE0-4A2A-AD14-9B7FCE5FF21F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0" name="Google Shape;1032;p25">
                <a:extLst>
                  <a:ext uri="{FF2B5EF4-FFF2-40B4-BE49-F238E27FC236}">
                    <a16:creationId xmlns:a16="http://schemas.microsoft.com/office/drawing/2014/main" id="{060AFEE0-99D0-458E-8645-AB58072B3765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88" name="Grafik 87">
              <a:extLst>
                <a:ext uri="{FF2B5EF4-FFF2-40B4-BE49-F238E27FC236}">
                  <a16:creationId xmlns:a16="http://schemas.microsoft.com/office/drawing/2014/main" id="{DE30BBE2-6C78-4148-9B85-EDE2F09D13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3867D5E0-0166-422A-8875-4174D7B87967}"/>
              </a:ext>
            </a:extLst>
          </p:cNvPr>
          <p:cNvGrpSpPr/>
          <p:nvPr/>
        </p:nvGrpSpPr>
        <p:grpSpPr>
          <a:xfrm>
            <a:off x="4613073" y="3474079"/>
            <a:ext cx="1001670" cy="1001670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E993FE7E-AC9D-4062-886A-E93C573F299C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94" name="Google Shape;1029;p25">
                <a:extLst>
                  <a:ext uri="{FF2B5EF4-FFF2-40B4-BE49-F238E27FC236}">
                    <a16:creationId xmlns:a16="http://schemas.microsoft.com/office/drawing/2014/main" id="{FC3A1579-4C9F-4BAB-8920-7000C65E50F4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" name="Google Shape;1032;p25">
                <a:extLst>
                  <a:ext uri="{FF2B5EF4-FFF2-40B4-BE49-F238E27FC236}">
                    <a16:creationId xmlns:a16="http://schemas.microsoft.com/office/drawing/2014/main" id="{551DBD65-726D-4725-9A05-628A1658AE61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85C6BEE9-E7B4-4998-AC47-5B32C2C95E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F7E61615-C1F4-4939-8428-29B2987F9A95}"/>
              </a:ext>
            </a:extLst>
          </p:cNvPr>
          <p:cNvGrpSpPr/>
          <p:nvPr/>
        </p:nvGrpSpPr>
        <p:grpSpPr>
          <a:xfrm>
            <a:off x="4225068" y="3097716"/>
            <a:ext cx="1001670" cy="1001670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EC44BD4A-69DC-4107-B764-CADB35262C65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99" name="Google Shape;1029;p25">
                <a:extLst>
                  <a:ext uri="{FF2B5EF4-FFF2-40B4-BE49-F238E27FC236}">
                    <a16:creationId xmlns:a16="http://schemas.microsoft.com/office/drawing/2014/main" id="{601399FB-D409-47AD-950D-341540034472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0" name="Google Shape;1032;p25">
                <a:extLst>
                  <a:ext uri="{FF2B5EF4-FFF2-40B4-BE49-F238E27FC236}">
                    <a16:creationId xmlns:a16="http://schemas.microsoft.com/office/drawing/2014/main" id="{4D7CBBE4-B9A5-47F0-BC27-46746C8DCF9F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98" name="Grafik 97">
              <a:extLst>
                <a:ext uri="{FF2B5EF4-FFF2-40B4-BE49-F238E27FC236}">
                  <a16:creationId xmlns:a16="http://schemas.microsoft.com/office/drawing/2014/main" id="{D7E0CC01-9F65-4EAD-932E-7904AAEC234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7D92EC20-389A-44DE-8E14-C05850125683}"/>
              </a:ext>
            </a:extLst>
          </p:cNvPr>
          <p:cNvGrpSpPr/>
          <p:nvPr/>
        </p:nvGrpSpPr>
        <p:grpSpPr>
          <a:xfrm>
            <a:off x="4854306" y="3025866"/>
            <a:ext cx="1262092" cy="1262092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07" name="Gruppieren 106">
              <a:extLst>
                <a:ext uri="{FF2B5EF4-FFF2-40B4-BE49-F238E27FC236}">
                  <a16:creationId xmlns:a16="http://schemas.microsoft.com/office/drawing/2014/main" id="{0BCBADD5-11AF-43A1-A915-3625CF1DE6DE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109" name="Google Shape;1029;p25">
                <a:extLst>
                  <a:ext uri="{FF2B5EF4-FFF2-40B4-BE49-F238E27FC236}">
                    <a16:creationId xmlns:a16="http://schemas.microsoft.com/office/drawing/2014/main" id="{54A2269E-CBAB-4B20-B797-F8DE6F22285A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0" name="Google Shape;1032;p25">
                <a:extLst>
                  <a:ext uri="{FF2B5EF4-FFF2-40B4-BE49-F238E27FC236}">
                    <a16:creationId xmlns:a16="http://schemas.microsoft.com/office/drawing/2014/main" id="{8701E962-D884-4BE9-A7A0-B4693E417060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08" name="Grafik 107">
              <a:extLst>
                <a:ext uri="{FF2B5EF4-FFF2-40B4-BE49-F238E27FC236}">
                  <a16:creationId xmlns:a16="http://schemas.microsoft.com/office/drawing/2014/main" id="{EFBDC903-B1D0-4476-8C89-42DE4A2B4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46BF9B53-38DA-4379-8199-CD1120D05D94}"/>
              </a:ext>
            </a:extLst>
          </p:cNvPr>
          <p:cNvGrpSpPr/>
          <p:nvPr/>
        </p:nvGrpSpPr>
        <p:grpSpPr>
          <a:xfrm>
            <a:off x="2548241" y="4727231"/>
            <a:ext cx="1262092" cy="1262092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2" name="Gruppieren 111">
              <a:extLst>
                <a:ext uri="{FF2B5EF4-FFF2-40B4-BE49-F238E27FC236}">
                  <a16:creationId xmlns:a16="http://schemas.microsoft.com/office/drawing/2014/main" id="{42B729B6-208B-46BF-97F4-ADE2ADB9196C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114" name="Google Shape;1029;p25">
                <a:extLst>
                  <a:ext uri="{FF2B5EF4-FFF2-40B4-BE49-F238E27FC236}">
                    <a16:creationId xmlns:a16="http://schemas.microsoft.com/office/drawing/2014/main" id="{6A6AC267-AC1B-4E4F-811D-6F60C8565284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5" name="Google Shape;1032;p25">
                <a:extLst>
                  <a:ext uri="{FF2B5EF4-FFF2-40B4-BE49-F238E27FC236}">
                    <a16:creationId xmlns:a16="http://schemas.microsoft.com/office/drawing/2014/main" id="{FE213CB7-F45E-42DD-9925-561D70AF7DC9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13" name="Grafik 112">
              <a:extLst>
                <a:ext uri="{FF2B5EF4-FFF2-40B4-BE49-F238E27FC236}">
                  <a16:creationId xmlns:a16="http://schemas.microsoft.com/office/drawing/2014/main" id="{DD3F5061-EB84-4D09-A854-3ACF9644F2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116" name="Gruppieren 115">
            <a:extLst>
              <a:ext uri="{FF2B5EF4-FFF2-40B4-BE49-F238E27FC236}">
                <a16:creationId xmlns:a16="http://schemas.microsoft.com/office/drawing/2014/main" id="{CB240A7A-142F-4E98-A8ED-2B958C7E3F8B}"/>
              </a:ext>
            </a:extLst>
          </p:cNvPr>
          <p:cNvGrpSpPr/>
          <p:nvPr/>
        </p:nvGrpSpPr>
        <p:grpSpPr>
          <a:xfrm>
            <a:off x="5547244" y="4493255"/>
            <a:ext cx="1262092" cy="1262092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D2B082A1-8FC3-483E-A3EB-6B95DCF6F670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119" name="Google Shape;1029;p25">
                <a:extLst>
                  <a:ext uri="{FF2B5EF4-FFF2-40B4-BE49-F238E27FC236}">
                    <a16:creationId xmlns:a16="http://schemas.microsoft.com/office/drawing/2014/main" id="{E201C804-6353-463A-BDCB-A2AE8BC69B0B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20" name="Google Shape;1032;p25">
                <a:extLst>
                  <a:ext uri="{FF2B5EF4-FFF2-40B4-BE49-F238E27FC236}">
                    <a16:creationId xmlns:a16="http://schemas.microsoft.com/office/drawing/2014/main" id="{54542D3C-0461-4AA1-8AA0-8C571F3DA11C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18" name="Grafik 117">
              <a:extLst>
                <a:ext uri="{FF2B5EF4-FFF2-40B4-BE49-F238E27FC236}">
                  <a16:creationId xmlns:a16="http://schemas.microsoft.com/office/drawing/2014/main" id="{ABF93A70-3120-4A7E-8929-748F7550F7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50008B73-1B25-4DBD-8D25-89208BFC3E4D}"/>
              </a:ext>
            </a:extLst>
          </p:cNvPr>
          <p:cNvGrpSpPr/>
          <p:nvPr/>
        </p:nvGrpSpPr>
        <p:grpSpPr>
          <a:xfrm>
            <a:off x="4161408" y="3963890"/>
            <a:ext cx="1262092" cy="1262092"/>
            <a:chOff x="1752742" y="1844369"/>
            <a:chExt cx="1843555" cy="1843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22" name="Gruppieren 121">
              <a:extLst>
                <a:ext uri="{FF2B5EF4-FFF2-40B4-BE49-F238E27FC236}">
                  <a16:creationId xmlns:a16="http://schemas.microsoft.com/office/drawing/2014/main" id="{0C2AFEDB-C1A5-496B-91A1-DB2B009C50C3}"/>
                </a:ext>
              </a:extLst>
            </p:cNvPr>
            <p:cNvGrpSpPr/>
            <p:nvPr/>
          </p:nvGrpSpPr>
          <p:grpSpPr>
            <a:xfrm>
              <a:off x="1752742" y="1844369"/>
              <a:ext cx="1843555" cy="1843555"/>
              <a:chOff x="7506940" y="2916535"/>
              <a:chExt cx="2321298" cy="2321298"/>
            </a:xfrm>
          </p:grpSpPr>
          <p:sp>
            <p:nvSpPr>
              <p:cNvPr id="124" name="Google Shape;1029;p25">
                <a:extLst>
                  <a:ext uri="{FF2B5EF4-FFF2-40B4-BE49-F238E27FC236}">
                    <a16:creationId xmlns:a16="http://schemas.microsoft.com/office/drawing/2014/main" id="{1CEF3720-2B4E-4564-9DCE-C874267A7C60}"/>
                  </a:ext>
                </a:extLst>
              </p:cNvPr>
              <p:cNvSpPr/>
              <p:nvPr/>
            </p:nvSpPr>
            <p:spPr>
              <a:xfrm>
                <a:off x="7506940" y="2916535"/>
                <a:ext cx="2321298" cy="2321298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1" y="0"/>
                    </a:moveTo>
                    <a:cubicBezTo>
                      <a:pt x="1335" y="0"/>
                      <a:pt x="1" y="1334"/>
                      <a:pt x="1" y="2980"/>
                    </a:cubicBezTo>
                    <a:cubicBezTo>
                      <a:pt x="1" y="4626"/>
                      <a:pt x="1335" y="5961"/>
                      <a:pt x="2981" y="5961"/>
                    </a:cubicBezTo>
                    <a:cubicBezTo>
                      <a:pt x="4627" y="5961"/>
                      <a:pt x="5961" y="4626"/>
                      <a:pt x="5961" y="2980"/>
                    </a:cubicBezTo>
                    <a:cubicBezTo>
                      <a:pt x="5961" y="1334"/>
                      <a:pt x="4627" y="0"/>
                      <a:pt x="298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rgbClr val="404040"/>
                </a:solidFill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900" i="0" u="none" strike="noStrike" kern="1200" cap="none" spc="0" normalizeH="0" baseline="0" noProof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25" name="Google Shape;1032;p25">
                <a:extLst>
                  <a:ext uri="{FF2B5EF4-FFF2-40B4-BE49-F238E27FC236}">
                    <a16:creationId xmlns:a16="http://schemas.microsoft.com/office/drawing/2014/main" id="{4D03A315-C3F8-4E88-A967-2728665D25CF}"/>
                  </a:ext>
                </a:extLst>
              </p:cNvPr>
              <p:cNvSpPr/>
              <p:nvPr/>
            </p:nvSpPr>
            <p:spPr>
              <a:xfrm>
                <a:off x="7620398" y="3029993"/>
                <a:ext cx="2094382" cy="2094382"/>
              </a:xfrm>
              <a:custGeom>
                <a:avLst/>
                <a:gdLst/>
                <a:ahLst/>
                <a:cxnLst/>
                <a:rect l="l" t="t" r="r" b="b"/>
                <a:pathLst>
                  <a:path w="5961" h="5961" extrusionOk="0">
                    <a:moveTo>
                      <a:pt x="2980" y="0"/>
                    </a:moveTo>
                    <a:cubicBezTo>
                      <a:pt x="1335" y="0"/>
                      <a:pt x="0" y="1334"/>
                      <a:pt x="0" y="2980"/>
                    </a:cubicBezTo>
                    <a:cubicBezTo>
                      <a:pt x="0" y="4626"/>
                      <a:pt x="1335" y="5961"/>
                      <a:pt x="2980" y="5961"/>
                    </a:cubicBezTo>
                    <a:cubicBezTo>
                      <a:pt x="4626" y="5961"/>
                      <a:pt x="5960" y="4626"/>
                      <a:pt x="5960" y="2980"/>
                    </a:cubicBezTo>
                    <a:cubicBezTo>
                      <a:pt x="5960" y="1334"/>
                      <a:pt x="4626" y="0"/>
                      <a:pt x="2980" y="0"/>
                    </a:cubicBezTo>
                    <a:close/>
                  </a:path>
                </a:pathLst>
              </a:custGeom>
              <a:solidFill>
                <a:srgbClr val="E0E5E9"/>
              </a:solidFill>
              <a:ln w="19050"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strike="noStrike" kern="1200" cap="none" spc="0" normalizeH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pic>
          <p:nvPicPr>
            <p:cNvPr id="123" name="Grafik 122">
              <a:extLst>
                <a:ext uri="{FF2B5EF4-FFF2-40B4-BE49-F238E27FC236}">
                  <a16:creationId xmlns:a16="http://schemas.microsoft.com/office/drawing/2014/main" id="{D8DAD830-21B0-4491-B25B-2E0A5CDB6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006" y="2238355"/>
              <a:ext cx="803025" cy="1055581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732F20C-29BA-44D8-901F-B08BF2D4096B}"/>
              </a:ext>
            </a:extLst>
          </p:cNvPr>
          <p:cNvGrpSpPr/>
          <p:nvPr/>
        </p:nvGrpSpPr>
        <p:grpSpPr>
          <a:xfrm>
            <a:off x="1947671" y="3073969"/>
            <a:ext cx="2321298" cy="2321298"/>
            <a:chOff x="594172" y="1980431"/>
            <a:chExt cx="2321298" cy="232129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" name="Google Shape;1036;p25">
              <a:extLst>
                <a:ext uri="{FF2B5EF4-FFF2-40B4-BE49-F238E27FC236}">
                  <a16:creationId xmlns:a16="http://schemas.microsoft.com/office/drawing/2014/main" id="{AC8BB698-A32C-4CAE-818A-D7D00F113F33}"/>
                </a:ext>
              </a:extLst>
            </p:cNvPr>
            <p:cNvSpPr/>
            <p:nvPr/>
          </p:nvSpPr>
          <p:spPr>
            <a:xfrm>
              <a:off x="594172" y="1980431"/>
              <a:ext cx="2321298" cy="2321298"/>
            </a:xfrm>
            <a:custGeom>
              <a:avLst/>
              <a:gdLst/>
              <a:ahLst/>
              <a:cxnLst/>
              <a:rect l="l" t="t" r="r" b="b"/>
              <a:pathLst>
                <a:path w="5962" h="5961" extrusionOk="0">
                  <a:moveTo>
                    <a:pt x="2981" y="0"/>
                  </a:moveTo>
                  <a:cubicBezTo>
                    <a:pt x="1335" y="0"/>
                    <a:pt x="0" y="1334"/>
                    <a:pt x="0" y="2980"/>
                  </a:cubicBezTo>
                  <a:cubicBezTo>
                    <a:pt x="0" y="4626"/>
                    <a:pt x="1335" y="5961"/>
                    <a:pt x="2981" y="5961"/>
                  </a:cubicBezTo>
                  <a:cubicBezTo>
                    <a:pt x="4627" y="5961"/>
                    <a:pt x="5961" y="4626"/>
                    <a:pt x="5961" y="2980"/>
                  </a:cubicBezTo>
                  <a:cubicBezTo>
                    <a:pt x="5961" y="1334"/>
                    <a:pt x="4627" y="0"/>
                    <a:pt x="298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404040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5" name="Google Shape;1032;p25">
              <a:extLst>
                <a:ext uri="{FF2B5EF4-FFF2-40B4-BE49-F238E27FC236}">
                  <a16:creationId xmlns:a16="http://schemas.microsoft.com/office/drawing/2014/main" id="{ECDC2E6E-055A-49FC-9AE3-B7F6D8A11D33}"/>
                </a:ext>
              </a:extLst>
            </p:cNvPr>
            <p:cNvSpPr/>
            <p:nvPr/>
          </p:nvSpPr>
          <p:spPr>
            <a:xfrm>
              <a:off x="707630" y="2093889"/>
              <a:ext cx="2094382" cy="2094382"/>
            </a:xfrm>
            <a:custGeom>
              <a:avLst/>
              <a:gdLst/>
              <a:ahLst/>
              <a:cxnLst/>
              <a:rect l="l" t="t" r="r" b="b"/>
              <a:pathLst>
                <a:path w="5961" h="5961" extrusionOk="0">
                  <a:moveTo>
                    <a:pt x="2980" y="0"/>
                  </a:moveTo>
                  <a:cubicBezTo>
                    <a:pt x="1335" y="0"/>
                    <a:pt x="0" y="1334"/>
                    <a:pt x="0" y="2980"/>
                  </a:cubicBezTo>
                  <a:cubicBezTo>
                    <a:pt x="0" y="4626"/>
                    <a:pt x="1335" y="5961"/>
                    <a:pt x="2980" y="5961"/>
                  </a:cubicBezTo>
                  <a:cubicBezTo>
                    <a:pt x="4626" y="5961"/>
                    <a:pt x="5960" y="4626"/>
                    <a:pt x="5960" y="2980"/>
                  </a:cubicBezTo>
                  <a:cubicBezTo>
                    <a:pt x="5960" y="1334"/>
                    <a:pt x="4626" y="0"/>
                    <a:pt x="2980" y="0"/>
                  </a:cubicBezTo>
                  <a:close/>
                </a:path>
              </a:pathLst>
            </a:custGeom>
            <a:solidFill>
              <a:srgbClr val="BFE8F7"/>
            </a:solidFill>
            <a:ln w="19050"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buClrTx/>
                <a:buSzTx/>
                <a:buFontTx/>
                <a:buNone/>
                <a:tabLst/>
                <a:defRPr/>
              </a:pPr>
              <a:r>
                <a:rPr lang="de-DE" sz="3200" b="1" dirty="0">
                  <a:solidFill>
                    <a:srgbClr val="000000"/>
                  </a:solidFill>
                  <a:latin typeface="+mj-lt"/>
                </a:rPr>
                <a:t>22,8 %</a:t>
              </a: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buClrTx/>
                <a:buSzTx/>
                <a:buFontTx/>
                <a:buNone/>
                <a:tabLst/>
                <a:defRPr/>
              </a:pPr>
              <a:endParaRPr kumimoji="0" lang="de-DE" sz="1600" b="1" i="0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buClrTx/>
                <a:buSzTx/>
                <a:buFontTx/>
                <a:buNone/>
                <a:tabLst/>
                <a:defRPr/>
              </a:pPr>
              <a:r>
                <a:rPr lang="de-DE" sz="1600" b="1" dirty="0">
                  <a:solidFill>
                    <a:srgbClr val="000000"/>
                  </a:solidFill>
                  <a:latin typeface="+mj-lt"/>
                </a:rPr>
                <a:t>klicken auf Links*</a:t>
              </a:r>
              <a:endParaRPr kumimoji="0" lang="de-DE" sz="1600" b="1" i="0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8C0B01B-678C-4C25-81A7-AFE6C172A621}"/>
              </a:ext>
            </a:extLst>
          </p:cNvPr>
          <p:cNvGrpSpPr/>
          <p:nvPr/>
        </p:nvGrpSpPr>
        <p:grpSpPr>
          <a:xfrm>
            <a:off x="5419012" y="2587537"/>
            <a:ext cx="2321298" cy="2321298"/>
            <a:chOff x="7506940" y="2916535"/>
            <a:chExt cx="2321298" cy="232129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" name="Google Shape;1029;p25">
              <a:extLst>
                <a:ext uri="{FF2B5EF4-FFF2-40B4-BE49-F238E27FC236}">
                  <a16:creationId xmlns:a16="http://schemas.microsoft.com/office/drawing/2014/main" id="{804776FF-9830-4188-920C-A2B34EDCB61B}"/>
                </a:ext>
              </a:extLst>
            </p:cNvPr>
            <p:cNvSpPr/>
            <p:nvPr/>
          </p:nvSpPr>
          <p:spPr>
            <a:xfrm>
              <a:off x="7506940" y="2916535"/>
              <a:ext cx="2321298" cy="2321298"/>
            </a:xfrm>
            <a:custGeom>
              <a:avLst/>
              <a:gdLst/>
              <a:ahLst/>
              <a:cxnLst/>
              <a:rect l="l" t="t" r="r" b="b"/>
              <a:pathLst>
                <a:path w="5961" h="5961" extrusionOk="0">
                  <a:moveTo>
                    <a:pt x="2981" y="0"/>
                  </a:moveTo>
                  <a:cubicBezTo>
                    <a:pt x="1335" y="0"/>
                    <a:pt x="1" y="1334"/>
                    <a:pt x="1" y="2980"/>
                  </a:cubicBezTo>
                  <a:cubicBezTo>
                    <a:pt x="1" y="4626"/>
                    <a:pt x="1335" y="5961"/>
                    <a:pt x="2981" y="5961"/>
                  </a:cubicBezTo>
                  <a:cubicBezTo>
                    <a:pt x="4627" y="5961"/>
                    <a:pt x="5961" y="4626"/>
                    <a:pt x="5961" y="2980"/>
                  </a:cubicBezTo>
                  <a:cubicBezTo>
                    <a:pt x="5961" y="1334"/>
                    <a:pt x="4627" y="0"/>
                    <a:pt x="2981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404040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0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9" name="Google Shape;1032;p25">
              <a:extLst>
                <a:ext uri="{FF2B5EF4-FFF2-40B4-BE49-F238E27FC236}">
                  <a16:creationId xmlns:a16="http://schemas.microsoft.com/office/drawing/2014/main" id="{495B3BE7-9EE6-41F3-B5B4-162634A57798}"/>
                </a:ext>
              </a:extLst>
            </p:cNvPr>
            <p:cNvSpPr/>
            <p:nvPr/>
          </p:nvSpPr>
          <p:spPr>
            <a:xfrm>
              <a:off x="7620398" y="3029993"/>
              <a:ext cx="2094382" cy="2094382"/>
            </a:xfrm>
            <a:custGeom>
              <a:avLst/>
              <a:gdLst/>
              <a:ahLst/>
              <a:cxnLst/>
              <a:rect l="l" t="t" r="r" b="b"/>
              <a:pathLst>
                <a:path w="5961" h="5961" extrusionOk="0">
                  <a:moveTo>
                    <a:pt x="2980" y="0"/>
                  </a:moveTo>
                  <a:cubicBezTo>
                    <a:pt x="1335" y="0"/>
                    <a:pt x="0" y="1334"/>
                    <a:pt x="0" y="2980"/>
                  </a:cubicBezTo>
                  <a:cubicBezTo>
                    <a:pt x="0" y="4626"/>
                    <a:pt x="1335" y="5961"/>
                    <a:pt x="2980" y="5961"/>
                  </a:cubicBezTo>
                  <a:cubicBezTo>
                    <a:pt x="4626" y="5961"/>
                    <a:pt x="5960" y="4626"/>
                    <a:pt x="5960" y="2980"/>
                  </a:cubicBezTo>
                  <a:cubicBezTo>
                    <a:pt x="5960" y="1334"/>
                    <a:pt x="4626" y="0"/>
                    <a:pt x="2980" y="0"/>
                  </a:cubicBezTo>
                  <a:close/>
                </a:path>
              </a:pathLst>
            </a:custGeom>
            <a:solidFill>
              <a:srgbClr val="C7E3E2"/>
            </a:solidFill>
            <a:ln w="19050"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buClrTx/>
                <a:buSzTx/>
                <a:buFontTx/>
                <a:buNone/>
                <a:tabLst/>
                <a:defRPr/>
              </a:pPr>
              <a:r>
                <a:rPr lang="de-DE" sz="3200" b="1" dirty="0">
                  <a:solidFill>
                    <a:srgbClr val="000000"/>
                  </a:solidFill>
                  <a:latin typeface="+mj-lt"/>
                </a:rPr>
                <a:t>33,3 %</a:t>
              </a: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buClrTx/>
                <a:buSzTx/>
                <a:buFontTx/>
                <a:buNone/>
                <a:tabLst/>
                <a:defRPr/>
              </a:pPr>
              <a:endParaRPr kumimoji="0" lang="de-DE" sz="1600" b="1" i="0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buClrTx/>
                <a:buSzTx/>
                <a:buFontTx/>
                <a:buNone/>
                <a:tabLst/>
                <a:defRPr/>
              </a:pPr>
              <a:r>
                <a:rPr lang="de-DE" sz="1600" b="1" dirty="0">
                  <a:solidFill>
                    <a:srgbClr val="000000"/>
                  </a:solidFill>
                  <a:latin typeface="+mj-lt"/>
                </a:rPr>
                <a:t>öffnen die E-Mail*</a:t>
              </a:r>
              <a:endParaRPr kumimoji="0" lang="de-DE" sz="1600" b="1" i="0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E40DCA8-3745-4A60-AB64-B214C48F5680}"/>
              </a:ext>
            </a:extLst>
          </p:cNvPr>
          <p:cNvGrpSpPr/>
          <p:nvPr/>
        </p:nvGrpSpPr>
        <p:grpSpPr>
          <a:xfrm>
            <a:off x="4124956" y="5104209"/>
            <a:ext cx="2321298" cy="2321298"/>
            <a:chOff x="3828793" y="3667967"/>
            <a:chExt cx="2321298" cy="232129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Google Shape;1032;p25">
              <a:extLst>
                <a:ext uri="{FF2B5EF4-FFF2-40B4-BE49-F238E27FC236}">
                  <a16:creationId xmlns:a16="http://schemas.microsoft.com/office/drawing/2014/main" id="{EED7C2F9-D2BA-43B5-9E5A-B080498C59F3}"/>
                </a:ext>
              </a:extLst>
            </p:cNvPr>
            <p:cNvSpPr/>
            <p:nvPr/>
          </p:nvSpPr>
          <p:spPr>
            <a:xfrm>
              <a:off x="3828793" y="3667967"/>
              <a:ext cx="2321298" cy="2321298"/>
            </a:xfrm>
            <a:custGeom>
              <a:avLst/>
              <a:gdLst/>
              <a:ahLst/>
              <a:cxnLst/>
              <a:rect l="l" t="t" r="r" b="b"/>
              <a:pathLst>
                <a:path w="5961" h="5961" extrusionOk="0">
                  <a:moveTo>
                    <a:pt x="2980" y="0"/>
                  </a:moveTo>
                  <a:cubicBezTo>
                    <a:pt x="1335" y="0"/>
                    <a:pt x="0" y="1334"/>
                    <a:pt x="0" y="2980"/>
                  </a:cubicBezTo>
                  <a:cubicBezTo>
                    <a:pt x="0" y="4626"/>
                    <a:pt x="1335" y="5961"/>
                    <a:pt x="2980" y="5961"/>
                  </a:cubicBezTo>
                  <a:cubicBezTo>
                    <a:pt x="4626" y="5961"/>
                    <a:pt x="5960" y="4626"/>
                    <a:pt x="5960" y="2980"/>
                  </a:cubicBezTo>
                  <a:cubicBezTo>
                    <a:pt x="5960" y="1334"/>
                    <a:pt x="4626" y="0"/>
                    <a:pt x="2980" y="0"/>
                  </a:cubicBez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404040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7" name="Google Shape;1032;p25">
              <a:extLst>
                <a:ext uri="{FF2B5EF4-FFF2-40B4-BE49-F238E27FC236}">
                  <a16:creationId xmlns:a16="http://schemas.microsoft.com/office/drawing/2014/main" id="{ED140C60-BD67-4DF3-8C0C-1289F7B8D957}"/>
                </a:ext>
              </a:extLst>
            </p:cNvPr>
            <p:cNvSpPr/>
            <p:nvPr/>
          </p:nvSpPr>
          <p:spPr>
            <a:xfrm>
              <a:off x="3942251" y="3781425"/>
              <a:ext cx="2094382" cy="2094382"/>
            </a:xfrm>
            <a:custGeom>
              <a:avLst/>
              <a:gdLst/>
              <a:ahLst/>
              <a:cxnLst/>
              <a:rect l="l" t="t" r="r" b="b"/>
              <a:pathLst>
                <a:path w="5961" h="5961" extrusionOk="0">
                  <a:moveTo>
                    <a:pt x="2980" y="0"/>
                  </a:moveTo>
                  <a:cubicBezTo>
                    <a:pt x="1335" y="0"/>
                    <a:pt x="0" y="1334"/>
                    <a:pt x="0" y="2980"/>
                  </a:cubicBezTo>
                  <a:cubicBezTo>
                    <a:pt x="0" y="4626"/>
                    <a:pt x="1335" y="5961"/>
                    <a:pt x="2980" y="5961"/>
                  </a:cubicBezTo>
                  <a:cubicBezTo>
                    <a:pt x="4626" y="5961"/>
                    <a:pt x="5960" y="4626"/>
                    <a:pt x="5960" y="2980"/>
                  </a:cubicBezTo>
                  <a:cubicBezTo>
                    <a:pt x="5960" y="1334"/>
                    <a:pt x="4626" y="0"/>
                    <a:pt x="2980" y="0"/>
                  </a:cubicBezTo>
                  <a:close/>
                </a:path>
              </a:pathLst>
            </a:custGeom>
            <a:solidFill>
              <a:srgbClr val="FAC5CE"/>
            </a:solidFill>
            <a:ln w="19050"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buClrTx/>
                <a:buSzTx/>
                <a:buFontTx/>
                <a:buNone/>
                <a:tabLst/>
                <a:defRPr/>
              </a:pPr>
              <a:r>
                <a:rPr lang="de-DE" sz="3200" b="1" dirty="0">
                  <a:solidFill>
                    <a:srgbClr val="000000"/>
                  </a:solidFill>
                  <a:latin typeface="+mj-lt"/>
                </a:rPr>
                <a:t>12,7 %</a:t>
              </a: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buClrTx/>
                <a:buSzTx/>
                <a:buFontTx/>
                <a:buNone/>
                <a:tabLst/>
                <a:defRPr/>
              </a:pPr>
              <a:endParaRPr kumimoji="0" lang="de-DE" sz="1600" b="1" i="0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ctr" defTabSz="711200" rtl="0" eaLnBrk="1" fontAlgn="auto" latinLnBrk="0" hangingPunct="1">
                <a:lnSpc>
                  <a:spcPct val="90000"/>
                </a:lnSpc>
                <a:buClrTx/>
                <a:buSzTx/>
                <a:buFontTx/>
                <a:buNone/>
                <a:tabLst/>
                <a:defRPr/>
              </a:pPr>
              <a:r>
                <a:rPr lang="de-DE" sz="1600" b="1" dirty="0">
                  <a:solidFill>
                    <a:srgbClr val="000000"/>
                  </a:solidFill>
                  <a:latin typeface="+mj-lt"/>
                </a:rPr>
                <a:t>geben ihr Passwort ein*</a:t>
              </a:r>
              <a:endParaRPr kumimoji="0" lang="de-DE" sz="1600" b="1" i="0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14" name="Rechteck 13">
            <a:extLst>
              <a:ext uri="{FF2B5EF4-FFF2-40B4-BE49-F238E27FC236}">
                <a16:creationId xmlns:a16="http://schemas.microsoft.com/office/drawing/2014/main" id="{7F3998E9-6025-49F6-B9FB-E5CD13BF70A3}"/>
              </a:ext>
            </a:extLst>
          </p:cNvPr>
          <p:cNvSpPr/>
          <p:nvPr/>
        </p:nvSpPr>
        <p:spPr>
          <a:xfrm>
            <a:off x="-192522" y="1772013"/>
            <a:ext cx="589398" cy="473509"/>
          </a:xfrm>
          <a:prstGeom prst="rect">
            <a:avLst/>
          </a:prstGeom>
          <a:solidFill>
            <a:srgbClr val="ED1A3B"/>
          </a:solidFill>
          <a:ln w="9525">
            <a:solidFill>
              <a:srgbClr val="ED1A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8CAA463F-21EC-4B6F-8FCC-C9095B6B72DF}"/>
              </a:ext>
            </a:extLst>
          </p:cNvPr>
          <p:cNvSpPr/>
          <p:nvPr/>
        </p:nvSpPr>
        <p:spPr>
          <a:xfrm>
            <a:off x="378148" y="1772013"/>
            <a:ext cx="7560840" cy="473509"/>
          </a:xfrm>
          <a:prstGeom prst="rect">
            <a:avLst/>
          </a:prstGeom>
          <a:solidFill>
            <a:srgbClr val="ED1A3B"/>
          </a:solidFill>
          <a:ln w="9525">
            <a:solidFill>
              <a:srgbClr val="ED1A3B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de-AT" sz="1600" b="1" dirty="0">
                <a:solidFill>
                  <a:schemeClr val="bg1"/>
                </a:solidFill>
                <a:sym typeface="Arial"/>
              </a:rPr>
              <a:t>Phishing-E-Mails sind aktuelle die häufigste Angriffsart auf Unternehmen!</a:t>
            </a:r>
          </a:p>
        </p:txBody>
      </p:sp>
    </p:spTree>
    <p:extLst>
      <p:ext uri="{BB962C8B-B14F-4D97-AF65-F5344CB8AC3E}">
        <p14:creationId xmlns:p14="http://schemas.microsoft.com/office/powerpoint/2010/main" val="16930534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48B4695-39FC-40D3-9660-7C0D30FD9B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AT" sz="7200" dirty="0"/>
              <a:t>Faktor Technik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479319-BA90-424F-858C-02486C2953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0C117AC4-85C6-41F8-966D-F01FE80CE9C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Einfallstore für Cyberkriminelle</a:t>
            </a:r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265781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F6BA57-BA96-400F-8060-9F0DAD853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Schwachstellen in Standardsoftware - 2021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313451-1A07-4F6C-874A-EA0F150771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Einfallstore für Cyberkriminelle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85FC7DB9-7C38-4526-A1CF-01E7385E2E66}"/>
              </a:ext>
            </a:extLst>
          </p:cNvPr>
          <p:cNvGraphicFramePr/>
          <p:nvPr/>
        </p:nvGraphicFramePr>
        <p:xfrm>
          <a:off x="5849951" y="1770514"/>
          <a:ext cx="4441004" cy="4278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88EFD99E-84E5-443A-92A4-945CB47272E6}"/>
              </a:ext>
            </a:extLst>
          </p:cNvPr>
          <p:cNvSpPr/>
          <p:nvPr/>
        </p:nvSpPr>
        <p:spPr>
          <a:xfrm>
            <a:off x="378148" y="1772013"/>
            <a:ext cx="5149527" cy="610227"/>
          </a:xfrm>
          <a:prstGeom prst="rect">
            <a:avLst/>
          </a:prstGeom>
          <a:solidFill>
            <a:srgbClr val="ED1A3B"/>
          </a:solidFill>
          <a:ln w="9525">
            <a:solidFill>
              <a:srgbClr val="ED1A3B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de-AT" sz="1600" b="1" dirty="0">
                <a:solidFill>
                  <a:schemeClr val="bg1"/>
                </a:solidFill>
                <a:sym typeface="Arial"/>
              </a:rPr>
              <a:t>Kritische Sicherheitslücken haben verheerende Auswirkungen auf Unternehmen!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A3AAB1A-6F59-4BE9-B317-2F58377C00DD}"/>
              </a:ext>
            </a:extLst>
          </p:cNvPr>
          <p:cNvSpPr/>
          <p:nvPr/>
        </p:nvSpPr>
        <p:spPr>
          <a:xfrm>
            <a:off x="-192522" y="1772013"/>
            <a:ext cx="589398" cy="610227"/>
          </a:xfrm>
          <a:prstGeom prst="rect">
            <a:avLst/>
          </a:prstGeom>
          <a:solidFill>
            <a:srgbClr val="ED1A3B"/>
          </a:solidFill>
          <a:ln w="9525">
            <a:solidFill>
              <a:srgbClr val="ED1A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FAA8BE5-5AEA-4817-9BE3-EF4FB8D9D1F6}"/>
              </a:ext>
            </a:extLst>
          </p:cNvPr>
          <p:cNvSpPr txBox="1"/>
          <p:nvPr/>
        </p:nvSpPr>
        <p:spPr>
          <a:xfrm>
            <a:off x="396876" y="2723764"/>
            <a:ext cx="4777470" cy="1310191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defTabSz="1008044">
              <a:spcAft>
                <a:spcPts val="1200"/>
              </a:spcAft>
              <a:buClr>
                <a:srgbClr val="ED1A3B"/>
              </a:buClr>
              <a:buSzPct val="80000"/>
            </a:pPr>
            <a:r>
              <a:rPr lang="de-AT" sz="1400" dirty="0">
                <a:solidFill>
                  <a:srgbClr val="000000"/>
                </a:solidFill>
                <a:sym typeface="Arial"/>
              </a:rPr>
              <a:t>2021 wurden kritische Schwachstellen in weit verbreiteter Standardsoftware (z.B. Microsoft Exchange Server, VMware </a:t>
            </a:r>
            <a:r>
              <a:rPr lang="de-AT" sz="1400" dirty="0" err="1">
                <a:solidFill>
                  <a:srgbClr val="000000"/>
                </a:solidFill>
                <a:sym typeface="Arial"/>
              </a:rPr>
              <a:t>ESXi</a:t>
            </a:r>
            <a:r>
              <a:rPr lang="de-AT" sz="1400" dirty="0">
                <a:solidFill>
                  <a:srgbClr val="000000"/>
                </a:solidFill>
                <a:sym typeface="Arial"/>
              </a:rPr>
              <a:t> etc.) von Cyberkriminellen genutzt, um Angriffe weitflächig durchzuführen.</a:t>
            </a:r>
          </a:p>
          <a:p>
            <a:pPr defTabSz="1008044">
              <a:spcAft>
                <a:spcPts val="1200"/>
              </a:spcAft>
              <a:buClr>
                <a:srgbClr val="ED1A3B"/>
              </a:buClr>
              <a:buSzPct val="80000"/>
            </a:pPr>
            <a:endParaRPr lang="de-AT" sz="1400" dirty="0">
              <a:solidFill>
                <a:srgbClr val="000000"/>
              </a:solidFill>
              <a:sym typeface="Arial"/>
            </a:endParaRPr>
          </a:p>
          <a:p>
            <a:pPr defTabSz="1008044">
              <a:spcAft>
                <a:spcPts val="1200"/>
              </a:spcAft>
              <a:buClr>
                <a:srgbClr val="ED1A3B"/>
              </a:buClr>
              <a:buSzPct val="80000"/>
            </a:pPr>
            <a:endParaRPr lang="de-AT" sz="1400" dirty="0">
              <a:solidFill>
                <a:srgbClr val="000000"/>
              </a:solidFill>
              <a:sym typeface="Arial"/>
            </a:endParaRPr>
          </a:p>
          <a:p>
            <a:pPr defTabSz="1008044">
              <a:spcAft>
                <a:spcPts val="1200"/>
              </a:spcAft>
              <a:buClr>
                <a:srgbClr val="ED1A3B"/>
              </a:buClr>
              <a:buSzPct val="80000"/>
            </a:pPr>
            <a:endParaRPr lang="de-AT" sz="14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A77A134-DD42-4C3B-B866-7796BF392ACB}"/>
              </a:ext>
            </a:extLst>
          </p:cNvPr>
          <p:cNvSpPr txBox="1"/>
          <p:nvPr/>
        </p:nvSpPr>
        <p:spPr>
          <a:xfrm>
            <a:off x="5849951" y="6069104"/>
            <a:ext cx="4449749" cy="375823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algn="l" defTabSz="1008044"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de-AT" sz="1000" dirty="0">
                <a:solidFill>
                  <a:srgbClr val="000000"/>
                </a:solidFill>
                <a:sym typeface="Arial"/>
              </a:rPr>
              <a:t>Grafik: In 2021 identifizierte Schwachstellen in weit verbreiteter Standardsoftware</a:t>
            </a:r>
          </a:p>
        </p:txBody>
      </p:sp>
    </p:spTree>
    <p:extLst>
      <p:ext uri="{BB962C8B-B14F-4D97-AF65-F5344CB8AC3E}">
        <p14:creationId xmlns:p14="http://schemas.microsoft.com/office/powerpoint/2010/main" val="33552411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4BB01BA2-D56D-45AF-9215-7AF275F76A80}"/>
              </a:ext>
            </a:extLst>
          </p:cNvPr>
          <p:cNvSpPr/>
          <p:nvPr/>
        </p:nvSpPr>
        <p:spPr>
          <a:xfrm>
            <a:off x="0" y="1404938"/>
            <a:ext cx="10693400" cy="5256212"/>
          </a:xfrm>
          <a:prstGeom prst="rect">
            <a:avLst/>
          </a:prstGeom>
          <a:solidFill>
            <a:srgbClr val="E0E5E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9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5CC50D1-139D-45A4-8E9C-93E9B58523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Einfallstore für Cyberkriminelle</a:t>
            </a:r>
          </a:p>
          <a:p>
            <a:endParaRPr lang="de-AT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17BADA0-D179-4126-BAC9-1D3613C7D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Schwachstellen in Standardsoftware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D29BD782-1845-4614-A5B1-2C143DFA9A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8843553"/>
              </p:ext>
            </p:extLst>
          </p:nvPr>
        </p:nvGraphicFramePr>
        <p:xfrm>
          <a:off x="424119" y="1620390"/>
          <a:ext cx="9874737" cy="5040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98F78B1-D314-4EAD-B39C-D3843ABC7A07}"/>
              </a:ext>
            </a:extLst>
          </p:cNvPr>
          <p:cNvSpPr txBox="1"/>
          <p:nvPr/>
        </p:nvSpPr>
        <p:spPr>
          <a:xfrm>
            <a:off x="7434932" y="6661150"/>
            <a:ext cx="285682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AT" sz="900" dirty="0"/>
              <a:t>https://www.cvedetails.com/browse-by-date.php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77FB508F-37D1-400D-8207-492A300AF494}"/>
              </a:ext>
            </a:extLst>
          </p:cNvPr>
          <p:cNvCxnSpPr>
            <a:cxnSpLocks/>
          </p:cNvCxnSpPr>
          <p:nvPr/>
        </p:nvCxnSpPr>
        <p:spPr>
          <a:xfrm flipV="1">
            <a:off x="1747255" y="3768722"/>
            <a:ext cx="7560840" cy="1152128"/>
          </a:xfrm>
          <a:prstGeom prst="straightConnector1">
            <a:avLst/>
          </a:prstGeom>
          <a:ln w="57150">
            <a:solidFill>
              <a:srgbClr val="ED1A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344B16BA-2BFA-4365-8F2B-2B3E8F771F10}"/>
              </a:ext>
            </a:extLst>
          </p:cNvPr>
          <p:cNvSpPr txBox="1"/>
          <p:nvPr/>
        </p:nvSpPr>
        <p:spPr>
          <a:xfrm>
            <a:off x="5162550" y="4140769"/>
            <a:ext cx="936104" cy="360040"/>
          </a:xfrm>
          <a:prstGeom prst="rect">
            <a:avLst/>
          </a:prstGeom>
          <a:solidFill>
            <a:srgbClr val="ED1A3B"/>
          </a:solidFill>
          <a:ln>
            <a:noFill/>
          </a:ln>
        </p:spPr>
        <p:txBody>
          <a:bodyPr wrap="none" lIns="36000" tIns="36000" rIns="36000" bIns="36000" rtlCol="0" anchor="t" anchorCtr="0">
            <a:noAutofit/>
          </a:bodyPr>
          <a:lstStyle/>
          <a:p>
            <a:pPr algn="ctr" defTabSz="1008044"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de-AT" sz="1800" dirty="0">
                <a:solidFill>
                  <a:srgbClr val="FFFFFF"/>
                </a:solidFill>
                <a:sym typeface="Arial"/>
              </a:rPr>
              <a:t>~71%+</a:t>
            </a:r>
          </a:p>
        </p:txBody>
      </p:sp>
    </p:spTree>
    <p:extLst>
      <p:ext uri="{BB962C8B-B14F-4D97-AF65-F5344CB8AC3E}">
        <p14:creationId xmlns:p14="http://schemas.microsoft.com/office/powerpoint/2010/main" val="39883554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820211-9DC4-4DC7-B4A2-0674A7FA22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AT" sz="7200" dirty="0"/>
              <a:t>Faktor Prozess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54CF45-CEE7-4AD7-ACD0-6C588EB4AC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D0E10D03-8A92-4D54-A3FC-42C0CE255EB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Aktuelle Bedrohungen</a:t>
            </a:r>
          </a:p>
        </p:txBody>
      </p:sp>
    </p:spTree>
    <p:extLst>
      <p:ext uri="{BB962C8B-B14F-4D97-AF65-F5344CB8AC3E}">
        <p14:creationId xmlns:p14="http://schemas.microsoft.com/office/powerpoint/2010/main" val="33465339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95C4A66-979A-4BBC-91C5-B8F15332AA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Prozesse unterstützen die Unternehmensentwicklung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4F21895-E2BC-45D3-909B-362C87A79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Laufende Verbesserung &amp; Externe Treib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B5D177-9830-4E5B-A58E-C4145769BB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/>
              <a:t>Prozesse fördern WACHSTUM</a:t>
            </a:r>
          </a:p>
          <a:p>
            <a:r>
              <a:rPr lang="de-AT" dirty="0"/>
              <a:t>Je größer das Unternehmen wird, umso wichtiger werden standardisierte Prozesse</a:t>
            </a:r>
          </a:p>
          <a:p>
            <a:pPr lvl="1"/>
            <a:r>
              <a:rPr lang="de-AT" dirty="0"/>
              <a:t>Risiko</a:t>
            </a:r>
            <a:r>
              <a:rPr lang="de-AT" u="sng" dirty="0"/>
              <a:t>managementsystem</a:t>
            </a:r>
            <a:r>
              <a:rPr lang="de-AT" dirty="0"/>
              <a:t> (RMS)</a:t>
            </a:r>
          </a:p>
          <a:p>
            <a:pPr lvl="1"/>
            <a:r>
              <a:rPr lang="de-AT" dirty="0"/>
              <a:t>Datenschutz</a:t>
            </a:r>
            <a:r>
              <a:rPr lang="de-AT" u="sng" dirty="0"/>
              <a:t>managementsystem</a:t>
            </a:r>
            <a:r>
              <a:rPr lang="de-AT" dirty="0"/>
              <a:t> (DSMS)</a:t>
            </a:r>
          </a:p>
          <a:p>
            <a:pPr lvl="1"/>
            <a:r>
              <a:rPr lang="de-AT" dirty="0"/>
              <a:t>Informationssicherheits</a:t>
            </a:r>
            <a:r>
              <a:rPr lang="de-AT" u="sng" dirty="0"/>
              <a:t>managementsystem</a:t>
            </a:r>
            <a:r>
              <a:rPr lang="de-AT" dirty="0"/>
              <a:t> (ISMS)</a:t>
            </a:r>
          </a:p>
          <a:p>
            <a:r>
              <a:rPr lang="de-AT" dirty="0"/>
              <a:t>Fehler einer Einzelperson können durch Prozesse abgefedert werden (z.B. 4-Augen-Prinzip)</a:t>
            </a:r>
          </a:p>
          <a:p>
            <a:pPr marL="0" indent="0">
              <a:buNone/>
            </a:pPr>
            <a:endParaRPr lang="de-AT" dirty="0"/>
          </a:p>
          <a:p>
            <a:pPr marL="0" indent="0">
              <a:buNone/>
            </a:pPr>
            <a:r>
              <a:rPr lang="de-AT" b="1" dirty="0"/>
              <a:t>LIEFERKETTEN fordern Prozesse</a:t>
            </a:r>
          </a:p>
          <a:p>
            <a:r>
              <a:rPr lang="de-AT" dirty="0"/>
              <a:t>Unternehmen sind meist in die Lieferketten anderer Unternehmen (z.B. Automobilindustrie) eingebunden</a:t>
            </a:r>
          </a:p>
          <a:p>
            <a:r>
              <a:rPr lang="de-AT" dirty="0"/>
              <a:t>Niemand möchte einen „unsicheren“ Geschäftspartner!</a:t>
            </a:r>
          </a:p>
          <a:p>
            <a:endParaRPr lang="de-AT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74C9685-317B-4743-81CF-D297591FEFD8}"/>
              </a:ext>
            </a:extLst>
          </p:cNvPr>
          <p:cNvGrpSpPr/>
          <p:nvPr/>
        </p:nvGrpSpPr>
        <p:grpSpPr>
          <a:xfrm>
            <a:off x="0" y="4690898"/>
            <a:ext cx="10693400" cy="2186923"/>
            <a:chOff x="0" y="4527832"/>
            <a:chExt cx="10693400" cy="2186923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BBAE8265-C2CA-4AAB-9288-4FD633D930CD}"/>
                </a:ext>
              </a:extLst>
            </p:cNvPr>
            <p:cNvSpPr/>
            <p:nvPr/>
          </p:nvSpPr>
          <p:spPr>
            <a:xfrm>
              <a:off x="0" y="4554755"/>
              <a:ext cx="10693400" cy="2104957"/>
            </a:xfrm>
            <a:prstGeom prst="rect">
              <a:avLst/>
            </a:prstGeom>
            <a:solidFill>
              <a:srgbClr val="E9ECE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621A42E3-CBDD-4052-8137-B32A610D0190}"/>
                </a:ext>
              </a:extLst>
            </p:cNvPr>
            <p:cNvSpPr/>
            <p:nvPr/>
          </p:nvSpPr>
          <p:spPr>
            <a:xfrm>
              <a:off x="594172" y="4527832"/>
              <a:ext cx="2160000" cy="2160000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B740BF52-4C15-4D76-84C7-E45116D401C1}"/>
                </a:ext>
              </a:extLst>
            </p:cNvPr>
            <p:cNvSpPr/>
            <p:nvPr/>
          </p:nvSpPr>
          <p:spPr>
            <a:xfrm>
              <a:off x="4200459" y="4554755"/>
              <a:ext cx="2160000" cy="2160000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13D34BDD-B579-4673-9D55-B341EEB18038}"/>
                </a:ext>
              </a:extLst>
            </p:cNvPr>
            <p:cNvSpPr/>
            <p:nvPr/>
          </p:nvSpPr>
          <p:spPr>
            <a:xfrm>
              <a:off x="7806746" y="4554755"/>
              <a:ext cx="2160000" cy="2160000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C7465CC8-2367-41B9-BBF6-E352DB8C9F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5355" y="5253675"/>
              <a:ext cx="1874681" cy="6801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4">
              <a:extLst>
                <a:ext uri="{FF2B5EF4-FFF2-40B4-BE49-F238E27FC236}">
                  <a16:creationId xmlns:a16="http://schemas.microsoft.com/office/drawing/2014/main" id="{0A2931C4-07BD-440E-9AC2-024972F7FB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3096" y="4951560"/>
              <a:ext cx="1284424" cy="12844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8">
              <a:extLst>
                <a:ext uri="{FF2B5EF4-FFF2-40B4-BE49-F238E27FC236}">
                  <a16:creationId xmlns:a16="http://schemas.microsoft.com/office/drawing/2014/main" id="{DC0B9B3E-C9F8-40C3-97E5-C65489DB89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610" t="27708" r="10872" b="29889"/>
            <a:stretch/>
          </p:blipFill>
          <p:spPr bwMode="auto">
            <a:xfrm>
              <a:off x="910668" y="5253366"/>
              <a:ext cx="1659492" cy="6808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557575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EE5C294-A110-4836-9C48-945188F7AD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EE5C294-A110-4836-9C48-945188F7A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B1F684D-FAD7-40DC-9234-1EDCF2181D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Regulatorischer Rahmen</a:t>
            </a:r>
            <a:endParaRPr lang="de-DE" sz="1400" dirty="0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28B93880-9E51-4E99-95BD-E78FF06B6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856" y="0"/>
            <a:ext cx="9892905" cy="971548"/>
          </a:xfrm>
        </p:spPr>
        <p:txBody>
          <a:bodyPr/>
          <a:lstStyle/>
          <a:p>
            <a:r>
              <a:rPr lang="de-AT" dirty="0"/>
              <a:t>Netz– und </a:t>
            </a:r>
            <a:r>
              <a:rPr lang="de-AT" dirty="0" err="1"/>
              <a:t>informationssicherheitsrichtlinie</a:t>
            </a:r>
            <a:r>
              <a:rPr lang="de-AT" dirty="0"/>
              <a:t> NEU („NIS2-RL“)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05FEAE2A-A4CA-415F-8296-9B77FA813755}"/>
              </a:ext>
            </a:extLst>
          </p:cNvPr>
          <p:cNvGrpSpPr/>
          <p:nvPr/>
        </p:nvGrpSpPr>
        <p:grpSpPr>
          <a:xfrm rot="16200000">
            <a:off x="4680402" y="7543921"/>
            <a:ext cx="1151356" cy="1545656"/>
            <a:chOff x="-1296747" y="1250836"/>
            <a:chExt cx="1151356" cy="1545656"/>
          </a:xfrm>
        </p:grpSpPr>
        <p:sp>
          <p:nvSpPr>
            <p:cNvPr id="22" name="Gleichschenkliges Dreieck 21">
              <a:extLst>
                <a:ext uri="{FF2B5EF4-FFF2-40B4-BE49-F238E27FC236}">
                  <a16:creationId xmlns:a16="http://schemas.microsoft.com/office/drawing/2014/main" id="{2A799ECB-0DEB-4D34-8291-C795512AF6C1}"/>
                </a:ext>
              </a:extLst>
            </p:cNvPr>
            <p:cNvSpPr/>
            <p:nvPr/>
          </p:nvSpPr>
          <p:spPr>
            <a:xfrm rot="5400000">
              <a:off x="-522345" y="1906662"/>
              <a:ext cx="519903" cy="234004"/>
            </a:xfrm>
            <a:prstGeom prst="triangle">
              <a:avLst/>
            </a:prstGeom>
            <a:solidFill>
              <a:srgbClr val="40404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4C7EB590-BC90-41BC-A7D4-2095F446EA57}"/>
                </a:ext>
              </a:extLst>
            </p:cNvPr>
            <p:cNvSpPr txBox="1"/>
            <p:nvPr/>
          </p:nvSpPr>
          <p:spPr>
            <a:xfrm rot="5400000">
              <a:off x="-1612375" y="1566464"/>
              <a:ext cx="1545656" cy="91440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noAutofit/>
            </a:bodyPr>
            <a:lstStyle/>
            <a:p>
              <a:pPr marL="0" marR="0" lvl="0" indent="0" algn="ctr" defTabSz="1008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r>
                <a:rPr kumimoji="0" lang="de-AT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Arial"/>
                </a:rPr>
                <a:t>Elemente wie dieses können an den Farbfokus des Dokuments angepasst und umgefärbt werden</a:t>
              </a:r>
            </a:p>
          </p:txBody>
        </p:sp>
      </p:grpSp>
      <p:sp>
        <p:nvSpPr>
          <p:cNvPr id="24" name="Freeform 158">
            <a:extLst>
              <a:ext uri="{FF2B5EF4-FFF2-40B4-BE49-F238E27FC236}">
                <a16:creationId xmlns:a16="http://schemas.microsoft.com/office/drawing/2014/main" id="{35257ED5-9987-4C2C-B662-7B6814A42E7D}"/>
              </a:ext>
            </a:extLst>
          </p:cNvPr>
          <p:cNvSpPr/>
          <p:nvPr/>
        </p:nvSpPr>
        <p:spPr>
          <a:xfrm>
            <a:off x="-1" y="2014773"/>
            <a:ext cx="3581426" cy="5546490"/>
          </a:xfrm>
          <a:custGeom>
            <a:avLst/>
            <a:gdLst/>
            <a:ahLst/>
            <a:cxnLst/>
            <a:rect l="0" t="0" r="0" b="0"/>
            <a:pathLst>
              <a:path w="2369642" h="1704302">
                <a:moveTo>
                  <a:pt x="0" y="1704302"/>
                </a:moveTo>
                <a:lnTo>
                  <a:pt x="2369642" y="1704302"/>
                </a:lnTo>
                <a:lnTo>
                  <a:pt x="2369642" y="0"/>
                </a:lnTo>
                <a:lnTo>
                  <a:pt x="0" y="0"/>
                </a:lnTo>
                <a:lnTo>
                  <a:pt x="0" y="1704302"/>
                </a:lnTo>
                <a:close/>
              </a:path>
            </a:pathLst>
          </a:custGeom>
          <a:solidFill>
            <a:srgbClr val="E0E5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Freeform 155">
            <a:extLst>
              <a:ext uri="{FF2B5EF4-FFF2-40B4-BE49-F238E27FC236}">
                <a16:creationId xmlns:a16="http://schemas.microsoft.com/office/drawing/2014/main" id="{3DC0F6AE-F20E-48AF-B95D-2408BD828CF1}"/>
              </a:ext>
            </a:extLst>
          </p:cNvPr>
          <p:cNvSpPr/>
          <p:nvPr/>
        </p:nvSpPr>
        <p:spPr>
          <a:xfrm>
            <a:off x="398855" y="2014773"/>
            <a:ext cx="1079996" cy="72000"/>
          </a:xfrm>
          <a:custGeom>
            <a:avLst/>
            <a:gdLst/>
            <a:ahLst/>
            <a:cxnLst/>
            <a:rect l="0" t="0" r="0" b="0"/>
            <a:pathLst>
              <a:path w="1079996" h="108001">
                <a:moveTo>
                  <a:pt x="0" y="108001"/>
                </a:moveTo>
                <a:lnTo>
                  <a:pt x="1079996" y="108001"/>
                </a:lnTo>
                <a:lnTo>
                  <a:pt x="1079996" y="0"/>
                </a:lnTo>
                <a:lnTo>
                  <a:pt x="0" y="0"/>
                </a:lnTo>
                <a:lnTo>
                  <a:pt x="0" y="108001"/>
                </a:lnTo>
                <a:close/>
              </a:path>
            </a:pathLst>
          </a:custGeom>
          <a:solidFill>
            <a:srgbClr val="ED1A3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35368A1B-BA26-43A0-9857-D7A66DECB9BB}"/>
              </a:ext>
            </a:extLst>
          </p:cNvPr>
          <p:cNvSpPr txBox="1">
            <a:spLocks/>
          </p:cNvSpPr>
          <p:nvPr/>
        </p:nvSpPr>
        <p:spPr>
          <a:xfrm>
            <a:off x="398856" y="2412509"/>
            <a:ext cx="2790000" cy="47178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360000" indent="-324000" defTabSz="966246">
              <a:spcAft>
                <a:spcPts val="1200"/>
              </a:spcAft>
            </a:pPr>
            <a:r>
              <a:rPr lang="de-AT" dirty="0"/>
              <a:t>Nach Inkrafttreten am 16. Jänner 2023 haben die Mitgliedsstaaten und Einrichtungen 21 Monate (Ende 2024) Zeit, die NIS2-Richtlinie in nationales Recht umzusetzen.</a:t>
            </a:r>
          </a:p>
          <a:p>
            <a:pPr marL="360000" indent="-324000" defTabSz="966246">
              <a:spcAft>
                <a:spcPts val="1200"/>
              </a:spcAft>
            </a:pPr>
            <a:endParaRPr lang="de-AT" dirty="0"/>
          </a:p>
          <a:p>
            <a:pPr marL="360000" lvl="0" indent="-324000" defTabSz="966246">
              <a:spcAft>
                <a:spcPts val="1200"/>
              </a:spcAft>
            </a:pPr>
            <a:r>
              <a:rPr lang="de-AT" dirty="0"/>
              <a:t>Ersetzt die ältere NIS-Richtlinie aus dem Jahr 2016 und legt umfangreichere Cybersicherheitsverpflichtungen fest, um ein hohes gemeinsames Niveau der Cybersicherheit in der EU zu fördern – sowohl für Unternehmen als auch für EU-Mitgliedsstaaten.</a:t>
            </a:r>
          </a:p>
          <a:p>
            <a:pPr marL="360000" indent="-324000" defTabSz="966246">
              <a:spcAft>
                <a:spcPts val="1200"/>
              </a:spcAft>
            </a:pPr>
            <a:endParaRPr lang="de-AT" dirty="0"/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endParaRPr kumimoji="0" lang="de-AT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CF55E8A-F680-4174-BA31-50984F721F16}"/>
              </a:ext>
            </a:extLst>
          </p:cNvPr>
          <p:cNvSpPr txBox="1"/>
          <p:nvPr/>
        </p:nvSpPr>
        <p:spPr>
          <a:xfrm>
            <a:off x="3945322" y="3364995"/>
            <a:ext cx="5904656" cy="3692618"/>
          </a:xfrm>
          <a:prstGeom prst="rect">
            <a:avLst/>
          </a:prstGeom>
          <a:noFill/>
        </p:spPr>
        <p:txBody>
          <a:bodyPr wrap="square" lIns="36000" tIns="36000" rIns="36000" bIns="36000" rtlCol="0" anchor="t" anchorCtr="0">
            <a:noAutofit/>
          </a:bodyPr>
          <a:lstStyle/>
          <a:p>
            <a:pPr marL="252000" indent="-25200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de-AT" sz="1400" b="1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Betroffene Unternehmen:</a:t>
            </a: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 </a:t>
            </a:r>
            <a:r>
              <a:rPr lang="de-AT" sz="1400" dirty="0">
                <a:solidFill>
                  <a:srgbClr val="333333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Der Kreis der erfassten Unternehmen wird erheblich erweitert.</a:t>
            </a: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 </a:t>
            </a:r>
          </a:p>
          <a:p>
            <a:pPr marL="252000" indent="-25200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Geltungsbereich auf Schlüsselsektoren und Aktivitäten ausgeweitet, die für </a:t>
            </a:r>
            <a:r>
              <a:rPr lang="de-AT" sz="1400" b="1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Wirtschaft und Gesellschaft von entscheidender Bedeutung</a:t>
            </a: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 sind sog. </a:t>
            </a:r>
            <a:r>
              <a:rPr lang="de-AT" sz="1400" b="1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"wesentliche und wichtige Einrichtungen“</a:t>
            </a: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 z.B. </a:t>
            </a:r>
          </a:p>
          <a:p>
            <a:pPr marL="735123" lvl="1" indent="-25200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Energie, </a:t>
            </a:r>
          </a:p>
          <a:p>
            <a:pPr marL="735123" lvl="1" indent="-25200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Verkehr, </a:t>
            </a:r>
          </a:p>
          <a:p>
            <a:pPr marL="735123" lvl="1" indent="-25200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Banken, </a:t>
            </a:r>
          </a:p>
          <a:p>
            <a:pPr marL="735123" lvl="1" indent="-25200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Gesundheit, </a:t>
            </a:r>
          </a:p>
          <a:p>
            <a:pPr marL="735123" lvl="1" indent="-25200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digitale Infrastruktur, </a:t>
            </a:r>
          </a:p>
          <a:p>
            <a:pPr marL="735123" lvl="1" indent="-25200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öffentliche Verwaltung </a:t>
            </a:r>
          </a:p>
          <a:p>
            <a:pPr marL="252000" indent="-252000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de-AT" sz="1400" dirty="0">
                <a:solidFill>
                  <a:srgbClr val="404040"/>
                </a:solidFill>
                <a:effectLst/>
                <a:ea typeface="Trebuchet MS" panose="020B0603020202020204" pitchFamily="34" charset="0"/>
                <a:cs typeface="Times New Roman" panose="02020603050405020304" pitchFamily="18" charset="0"/>
              </a:rPr>
              <a:t>Unabhängig von der Unternehmensgröße fallen auch wesentliche und wichtige Unternehmen in den Anwendungsbereich, die bestimmte besonders kritische Dienste anbieten z.B. Anbieter elektronischer Kommunikationsnetze.</a:t>
            </a:r>
          </a:p>
          <a:p>
            <a:pPr marL="252000" indent="-252000" algn="l" defTabSz="1008044"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endParaRPr lang="de-AT" sz="1400" dirty="0" err="1">
              <a:sym typeface="Arial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30AD76F-85A2-4D04-A004-18A2F61DCEF0}"/>
              </a:ext>
            </a:extLst>
          </p:cNvPr>
          <p:cNvGrpSpPr/>
          <p:nvPr/>
        </p:nvGrpSpPr>
        <p:grpSpPr>
          <a:xfrm>
            <a:off x="3584007" y="1713716"/>
            <a:ext cx="2444902" cy="1441132"/>
            <a:chOff x="3331252" y="5325965"/>
            <a:chExt cx="2379668" cy="1431313"/>
          </a:xfrm>
          <a:solidFill>
            <a:srgbClr val="FFFFFF"/>
          </a:solidFill>
        </p:grpSpPr>
        <p:sp>
          <p:nvSpPr>
            <p:cNvPr id="18" name="Freeform 147">
              <a:extLst>
                <a:ext uri="{FF2B5EF4-FFF2-40B4-BE49-F238E27FC236}">
                  <a16:creationId xmlns:a16="http://schemas.microsoft.com/office/drawing/2014/main" id="{49D145C6-0811-42F0-8DB0-1DF95B419711}"/>
                </a:ext>
              </a:extLst>
            </p:cNvPr>
            <p:cNvSpPr/>
            <p:nvPr/>
          </p:nvSpPr>
          <p:spPr>
            <a:xfrm>
              <a:off x="4286299" y="5325965"/>
              <a:ext cx="1424621" cy="1431313"/>
            </a:xfrm>
            <a:custGeom>
              <a:avLst/>
              <a:gdLst/>
              <a:ahLst/>
              <a:cxnLst/>
              <a:rect l="0" t="0" r="0" b="0"/>
              <a:pathLst>
                <a:path w="1923896" h="1880920">
                  <a:moveTo>
                    <a:pt x="961948" y="1880920"/>
                  </a:moveTo>
                  <a:cubicBezTo>
                    <a:pt x="1493214" y="1880920"/>
                    <a:pt x="1923896" y="1459865"/>
                    <a:pt x="1923896" y="940460"/>
                  </a:cubicBezTo>
                  <a:cubicBezTo>
                    <a:pt x="1923896" y="421068"/>
                    <a:pt x="1493214" y="0"/>
                    <a:pt x="961948" y="0"/>
                  </a:cubicBezTo>
                  <a:cubicBezTo>
                    <a:pt x="430682" y="0"/>
                    <a:pt x="0" y="421068"/>
                    <a:pt x="0" y="940460"/>
                  </a:cubicBezTo>
                  <a:cubicBezTo>
                    <a:pt x="0" y="1459865"/>
                    <a:pt x="430682" y="1880920"/>
                    <a:pt x="961948" y="1880920"/>
                  </a:cubicBezTo>
                  <a:close/>
                </a:path>
              </a:pathLst>
            </a:custGeom>
            <a:grpFill/>
            <a:ln w="19050" cap="flat" cmpd="sng">
              <a:solidFill>
                <a:srgbClr val="414141">
                  <a:alpha val="100000"/>
                </a:srgbClr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25" name="Freeform 160">
              <a:extLst>
                <a:ext uri="{FF2B5EF4-FFF2-40B4-BE49-F238E27FC236}">
                  <a16:creationId xmlns:a16="http://schemas.microsoft.com/office/drawing/2014/main" id="{76E4E3AF-191D-416C-B750-E7D54E9C4282}"/>
                </a:ext>
              </a:extLst>
            </p:cNvPr>
            <p:cNvSpPr/>
            <p:nvPr/>
          </p:nvSpPr>
          <p:spPr>
            <a:xfrm rot="10800000">
              <a:off x="3331252" y="6152538"/>
              <a:ext cx="955046" cy="45719"/>
            </a:xfrm>
            <a:custGeom>
              <a:avLst/>
              <a:gdLst/>
              <a:ahLst/>
              <a:cxnLst/>
              <a:rect l="0" t="0" r="0" b="0"/>
              <a:pathLst>
                <a:path w="3745064">
                  <a:moveTo>
                    <a:pt x="0" y="0"/>
                  </a:moveTo>
                  <a:lnTo>
                    <a:pt x="3745064" y="0"/>
                  </a:lnTo>
                </a:path>
              </a:pathLst>
            </a:custGeom>
            <a:grpFill/>
            <a:ln w="19050" cap="flat" cmpd="sng">
              <a:solidFill>
                <a:srgbClr val="414141">
                  <a:alpha val="100000"/>
                </a:srgbClr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27" name="Textfeld 26">
            <a:extLst>
              <a:ext uri="{FF2B5EF4-FFF2-40B4-BE49-F238E27FC236}">
                <a16:creationId xmlns:a16="http://schemas.microsoft.com/office/drawing/2014/main" id="{1E12F23A-D03A-44D9-8F91-92CDBB779F72}"/>
              </a:ext>
            </a:extLst>
          </p:cNvPr>
          <p:cNvSpPr txBox="1"/>
          <p:nvPr/>
        </p:nvSpPr>
        <p:spPr>
          <a:xfrm>
            <a:off x="4450978" y="2141894"/>
            <a:ext cx="16921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285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nwen</a:t>
            </a:r>
            <a:r>
              <a:rPr lang="en-US" sz="1600" b="1" dirty="0">
                <a:solidFill>
                  <a:srgbClr val="414141"/>
                </a:solidFill>
                <a:latin typeface="Trebuchet MS"/>
              </a:rPr>
              <a:t>dungs-</a:t>
            </a:r>
          </a:p>
          <a:p>
            <a:pPr marL="5285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err="1">
                <a:solidFill>
                  <a:srgbClr val="414141"/>
                </a:solidFill>
                <a:latin typeface="Trebuchet MS"/>
              </a:rPr>
              <a:t>bereich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83394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Grafik 73" descr="Ein Bild, das Gebäude enthält.&#10;&#10;Automatisch generierte Beschreibung">
            <a:extLst>
              <a:ext uri="{FF2B5EF4-FFF2-40B4-BE49-F238E27FC236}">
                <a16:creationId xmlns:a16="http://schemas.microsoft.com/office/drawing/2014/main" id="{FF520815-2769-49D1-93D1-F40E3AB3934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9348" y="-1"/>
            <a:ext cx="4324053" cy="3199160"/>
          </a:xfrm>
          <a:custGeom>
            <a:avLst/>
            <a:gdLst>
              <a:gd name="connsiteX0" fmla="*/ 74071 w 4324053"/>
              <a:gd name="connsiteY0" fmla="*/ 0 h 3199160"/>
              <a:gd name="connsiteX1" fmla="*/ 4324053 w 4324053"/>
              <a:gd name="connsiteY1" fmla="*/ 0 h 3199160"/>
              <a:gd name="connsiteX2" fmla="*/ 4324053 w 4324053"/>
              <a:gd name="connsiteY2" fmla="*/ 2533263 h 3199160"/>
              <a:gd name="connsiteX3" fmla="*/ 4242960 w 4324053"/>
              <a:gd name="connsiteY3" fmla="*/ 2606965 h 3199160"/>
              <a:gd name="connsiteX4" fmla="*/ 2593349 w 4324053"/>
              <a:gd name="connsiteY4" fmla="*/ 3199160 h 3199160"/>
              <a:gd name="connsiteX5" fmla="*/ 0 w 4324053"/>
              <a:gd name="connsiteY5" fmla="*/ 605811 h 3199160"/>
              <a:gd name="connsiteX6" fmla="*/ 52688 w 4324053"/>
              <a:gd name="connsiteY6" fmla="*/ 83161 h 3199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4053" h="3199160">
                <a:moveTo>
                  <a:pt x="74071" y="0"/>
                </a:moveTo>
                <a:lnTo>
                  <a:pt x="4324053" y="0"/>
                </a:lnTo>
                <a:lnTo>
                  <a:pt x="4324053" y="2533263"/>
                </a:lnTo>
                <a:lnTo>
                  <a:pt x="4242960" y="2606965"/>
                </a:lnTo>
                <a:cubicBezTo>
                  <a:pt x="3794676" y="2976922"/>
                  <a:pt x="3219966" y="3199160"/>
                  <a:pt x="2593349" y="3199160"/>
                </a:cubicBezTo>
                <a:cubicBezTo>
                  <a:pt x="1161082" y="3199160"/>
                  <a:pt x="0" y="2038078"/>
                  <a:pt x="0" y="605811"/>
                </a:cubicBezTo>
                <a:cubicBezTo>
                  <a:pt x="0" y="426778"/>
                  <a:pt x="18142" y="251982"/>
                  <a:pt x="52688" y="83161"/>
                </a:cubicBezTo>
                <a:close/>
              </a:path>
            </a:pathLst>
          </a:custGeom>
        </p:spPr>
      </p:pic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C689631E-8978-4B01-8092-B1682853B207}"/>
              </a:ext>
            </a:extLst>
          </p:cNvPr>
          <p:cNvSpPr/>
          <p:nvPr/>
        </p:nvSpPr>
        <p:spPr>
          <a:xfrm>
            <a:off x="0" y="-1"/>
            <a:ext cx="4596511" cy="7561264"/>
          </a:xfrm>
          <a:custGeom>
            <a:avLst/>
            <a:gdLst>
              <a:gd name="connsiteX0" fmla="*/ 0 w 4997129"/>
              <a:gd name="connsiteY0" fmla="*/ 0 h 7561264"/>
              <a:gd name="connsiteX1" fmla="*/ 4225468 w 4997129"/>
              <a:gd name="connsiteY1" fmla="*/ 0 h 7561264"/>
              <a:gd name="connsiteX2" fmla="*/ 4300877 w 4997129"/>
              <a:gd name="connsiteY2" fmla="*/ 127117 h 7561264"/>
              <a:gd name="connsiteX3" fmla="*/ 4997129 w 4997129"/>
              <a:gd name="connsiteY3" fmla="*/ 2791654 h 7561264"/>
              <a:gd name="connsiteX4" fmla="*/ 2251109 w 4997129"/>
              <a:gd name="connsiteY4" fmla="*/ 7518336 h 7561264"/>
              <a:gd name="connsiteX5" fmla="*/ 2171795 w 4997129"/>
              <a:gd name="connsiteY5" fmla="*/ 7561264 h 7561264"/>
              <a:gd name="connsiteX6" fmla="*/ 0 w 4997129"/>
              <a:gd name="connsiteY6" fmla="*/ 7561264 h 7561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97129" h="7561264">
                <a:moveTo>
                  <a:pt x="0" y="0"/>
                </a:moveTo>
                <a:lnTo>
                  <a:pt x="4225468" y="0"/>
                </a:lnTo>
                <a:lnTo>
                  <a:pt x="4300877" y="127117"/>
                </a:lnTo>
                <a:cubicBezTo>
                  <a:pt x="4744223" y="914581"/>
                  <a:pt x="4997129" y="1823583"/>
                  <a:pt x="4997129" y="2791654"/>
                </a:cubicBezTo>
                <a:cubicBezTo>
                  <a:pt x="4997129" y="4815803"/>
                  <a:pt x="3891447" y="6581705"/>
                  <a:pt x="2251109" y="7518336"/>
                </a:cubicBezTo>
                <a:lnTo>
                  <a:pt x="2171795" y="7561264"/>
                </a:lnTo>
                <a:lnTo>
                  <a:pt x="0" y="7561264"/>
                </a:lnTo>
                <a:close/>
              </a:path>
            </a:pathLst>
          </a:custGeom>
          <a:solidFill>
            <a:srgbClr val="B2BD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2A9C3D2-DFFE-49E7-952B-82BBBD1215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2A9C3D2-DFFE-49E7-952B-82BBBD1215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BDEFEB17-721C-46C2-BD33-5032EABFAF2B}"/>
              </a:ext>
            </a:extLst>
          </p:cNvPr>
          <p:cNvSpPr/>
          <p:nvPr/>
        </p:nvSpPr>
        <p:spPr>
          <a:xfrm>
            <a:off x="392812" y="7186290"/>
            <a:ext cx="977832" cy="11605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0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754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Calibri" panose="020F0502020204030204" pitchFamily="34" charset="0"/>
              </a:rPr>
              <a:t>Stand: Dezember 2021</a:t>
            </a:r>
            <a:endParaRPr kumimoji="0" lang="de-AT" sz="754" b="0" i="0" u="none" strike="noStrike" kern="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object 11">
            <a:extLst>
              <a:ext uri="{FF2B5EF4-FFF2-40B4-BE49-F238E27FC236}">
                <a16:creationId xmlns:a16="http://schemas.microsoft.com/office/drawing/2014/main" id="{CE39DD6A-E02A-49AB-ADD5-513D9158253A}"/>
              </a:ext>
            </a:extLst>
          </p:cNvPr>
          <p:cNvSpPr txBox="1"/>
          <p:nvPr/>
        </p:nvSpPr>
        <p:spPr>
          <a:xfrm>
            <a:off x="4802137" y="3788058"/>
            <a:ext cx="2378226" cy="83869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defTabSz="914400">
              <a:lnSpc>
                <a:spcPct val="125000"/>
              </a:lnSpc>
              <a:spcBef>
                <a:spcPts val="100"/>
              </a:spcBef>
              <a:tabLst>
                <a:tab pos="179388" algn="l"/>
                <a:tab pos="4486275" algn="l"/>
              </a:tabLst>
            </a:pPr>
            <a:r>
              <a:rPr lang="de-AT" sz="1100" spc="120" dirty="0">
                <a:solidFill>
                  <a:srgbClr val="404040"/>
                </a:solidFill>
                <a:cs typeface="Trebuchet MS"/>
              </a:rPr>
              <a:t>WIEN, GRAZ, LINZ, SALZBURG, KLAGENFURT, DORNBIRN, JUDENBURG, BRUCK/LEITHA, OBERWART</a:t>
            </a:r>
            <a:endParaRPr sz="1100" spc="120" dirty="0">
              <a:solidFill>
                <a:srgbClr val="404040"/>
              </a:solidFill>
              <a:cs typeface="Trebuchet MS"/>
            </a:endParaRPr>
          </a:p>
        </p:txBody>
      </p:sp>
      <p:sp>
        <p:nvSpPr>
          <p:cNvPr id="17" name="object 11">
            <a:extLst>
              <a:ext uri="{FF2B5EF4-FFF2-40B4-BE49-F238E27FC236}">
                <a16:creationId xmlns:a16="http://schemas.microsoft.com/office/drawing/2014/main" id="{6DD1BA9D-893F-4340-A7A3-0BDBD315D556}"/>
              </a:ext>
            </a:extLst>
          </p:cNvPr>
          <p:cNvSpPr txBox="1"/>
          <p:nvPr/>
        </p:nvSpPr>
        <p:spPr>
          <a:xfrm>
            <a:off x="7463481" y="3788058"/>
            <a:ext cx="2081038" cy="83869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defTabSz="914400">
              <a:lnSpc>
                <a:spcPct val="125000"/>
              </a:lnSpc>
              <a:spcAft>
                <a:spcPts val="900"/>
              </a:spcAft>
              <a:tabLst>
                <a:tab pos="179388" algn="l"/>
              </a:tabLst>
            </a:pPr>
            <a:r>
              <a:rPr lang="en-US" sz="1100" spc="120" dirty="0">
                <a:solidFill>
                  <a:srgbClr val="404040"/>
                </a:solidFill>
                <a:sym typeface="Arial"/>
              </a:rPr>
              <a:t>AUDIT, TAX, CONSULTING, CORPORATE FINANCE, BUSINESS SERVICES &amp; OUTSOURCING</a:t>
            </a:r>
            <a:endParaRPr lang="en-US" sz="1100" spc="120" dirty="0">
              <a:solidFill>
                <a:srgbClr val="404040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E056D68-F8EB-4E95-B026-BAE669B0D1BF}"/>
              </a:ext>
            </a:extLst>
          </p:cNvPr>
          <p:cNvSpPr/>
          <p:nvPr/>
        </p:nvSpPr>
        <p:spPr>
          <a:xfrm>
            <a:off x="7459846" y="3566556"/>
            <a:ext cx="1409040" cy="11605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0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754" b="0" i="0" u="none" strike="noStrike" kern="0" cap="none" spc="30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Calibri" panose="020F0502020204030204" pitchFamily="34" charset="0"/>
              </a:rPr>
              <a:t>SERVICE-BEREICHE</a:t>
            </a:r>
            <a:endParaRPr kumimoji="0" lang="de-AT" sz="754" b="0" i="0" u="none" strike="noStrike" kern="0" cap="none" spc="30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414596A-F341-48E5-9C5A-054C48710231}"/>
              </a:ext>
            </a:extLst>
          </p:cNvPr>
          <p:cNvSpPr/>
          <p:nvPr/>
        </p:nvSpPr>
        <p:spPr>
          <a:xfrm>
            <a:off x="4815032" y="3567197"/>
            <a:ext cx="852798" cy="11541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0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750" b="0" i="0" u="none" strike="noStrike" kern="0" cap="none" spc="30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Calibri" panose="020F0502020204030204" pitchFamily="34" charset="0"/>
              </a:rPr>
              <a:t>STANDORTE</a:t>
            </a:r>
            <a:endParaRPr kumimoji="0" lang="de-AT" sz="750" b="0" i="0" u="none" strike="noStrike" kern="0" cap="none" spc="30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</a:endParaRP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DD39B112-C978-4032-B82E-A70B0E36482B}"/>
              </a:ext>
            </a:extLst>
          </p:cNvPr>
          <p:cNvGrpSpPr/>
          <p:nvPr/>
        </p:nvGrpSpPr>
        <p:grpSpPr>
          <a:xfrm rot="5400000">
            <a:off x="9334754" y="66940"/>
            <a:ext cx="896499" cy="1820793"/>
            <a:chOff x="7108809" y="1642113"/>
            <a:chExt cx="1055025" cy="2142759"/>
          </a:xfrm>
        </p:grpSpPr>
        <p:sp>
          <p:nvSpPr>
            <p:cNvPr id="26" name="Freeform 147">
              <a:extLst>
                <a:ext uri="{FF2B5EF4-FFF2-40B4-BE49-F238E27FC236}">
                  <a16:creationId xmlns:a16="http://schemas.microsoft.com/office/drawing/2014/main" id="{F267F0F8-66FF-4A3A-939B-1D57E3379CBC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7108809" y="2729630"/>
              <a:ext cx="1055025" cy="1055242"/>
            </a:xfrm>
            <a:custGeom>
              <a:avLst/>
              <a:gdLst/>
              <a:ahLst/>
              <a:cxnLst/>
              <a:rect l="0" t="0" r="0" b="0"/>
              <a:pathLst>
                <a:path w="1923896" h="1880920">
                  <a:moveTo>
                    <a:pt x="961948" y="1880920"/>
                  </a:moveTo>
                  <a:cubicBezTo>
                    <a:pt x="1493214" y="1880920"/>
                    <a:pt x="1923896" y="1459865"/>
                    <a:pt x="1923896" y="940460"/>
                  </a:cubicBezTo>
                  <a:cubicBezTo>
                    <a:pt x="1923896" y="421068"/>
                    <a:pt x="1493214" y="0"/>
                    <a:pt x="961948" y="0"/>
                  </a:cubicBezTo>
                  <a:cubicBezTo>
                    <a:pt x="430682" y="0"/>
                    <a:pt x="0" y="421068"/>
                    <a:pt x="0" y="940460"/>
                  </a:cubicBezTo>
                  <a:cubicBezTo>
                    <a:pt x="0" y="1459865"/>
                    <a:pt x="430682" y="1880920"/>
                    <a:pt x="961948" y="1880920"/>
                  </a:cubicBezTo>
                  <a:close/>
                </a:path>
              </a:pathLst>
            </a:custGeom>
            <a:noFill/>
            <a:ln w="19050" cap="flat" cmpd="sng">
              <a:solidFill>
                <a:schemeClr val="bg1"/>
              </a:solidFill>
              <a:miter lim="508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4489AB40-2DE1-4D3A-8F8F-3BB44AB2B13A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7092379" y="2186055"/>
              <a:ext cx="1087884" cy="0"/>
            </a:xfrm>
            <a:prstGeom prst="line">
              <a:avLst/>
            </a:prstGeom>
            <a:noFill/>
            <a:ln w="19050" cap="flat" cmpd="sng" algn="ctr">
              <a:solidFill>
                <a:schemeClr val="bg1"/>
              </a:solidFill>
              <a:prstDash val="solid"/>
            </a:ln>
            <a:effectLst/>
          </p:spPr>
        </p:cxn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05E147D-04E6-4EB8-86C5-1D14D1C478EB}"/>
              </a:ext>
            </a:extLst>
          </p:cNvPr>
          <p:cNvGrpSpPr/>
          <p:nvPr/>
        </p:nvGrpSpPr>
        <p:grpSpPr>
          <a:xfrm>
            <a:off x="5281422" y="5422486"/>
            <a:ext cx="1263863" cy="1111199"/>
            <a:chOff x="5165523" y="5342322"/>
            <a:chExt cx="1263863" cy="1111199"/>
          </a:xfrm>
        </p:grpSpPr>
        <p:sp>
          <p:nvSpPr>
            <p:cNvPr id="97" name="Textplatzhalter 1">
              <a:extLst>
                <a:ext uri="{FF2B5EF4-FFF2-40B4-BE49-F238E27FC236}">
                  <a16:creationId xmlns:a16="http://schemas.microsoft.com/office/drawing/2014/main" id="{E98B6B84-9B00-45F7-8607-6EB58AEAF6FB}"/>
                </a:ext>
              </a:extLst>
            </p:cNvPr>
            <p:cNvSpPr txBox="1">
              <a:spLocks/>
            </p:cNvSpPr>
            <p:nvPr/>
          </p:nvSpPr>
          <p:spPr>
            <a:xfrm>
              <a:off x="5165523" y="5342322"/>
              <a:ext cx="1263863" cy="25950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marR="0" indent="0" algn="l" defTabSz="10080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 typeface="Wingdings 3" panose="05040102010807070707" pitchFamily="18" charset="2"/>
                <a:buNone/>
                <a:tabLst/>
                <a:defRPr kumimoji="0" lang="de-DE" sz="1400" b="0" i="1" u="none" strike="noStrike" kern="1200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defRPr>
              </a:lvl1pPr>
              <a:lvl2pPr marL="488950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4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2pPr>
              <a:lvl3pPr marL="738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2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3pPr>
              <a:lvl4pPr marL="992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sz="900" b="0" i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4pPr>
              <a:lvl5pPr marL="1227138" indent="-241300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tabLst>
                  <a:tab pos="759913" algn="l"/>
                </a:tabLst>
                <a:defRPr sz="900" b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5pPr>
              <a:lvl6pPr marL="288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6pPr>
              <a:lvl7pPr marL="432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7pPr>
              <a:lvl8pPr marL="576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◦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8pPr>
              <a:lvl9pPr marL="720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–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de-AT" sz="800" i="0" spc="110" dirty="0">
                  <a:solidFill>
                    <a:srgbClr val="404040"/>
                  </a:solidFill>
                  <a:ea typeface="+mn-ea"/>
                  <a:cs typeface="+mn-cs"/>
                </a:rPr>
                <a:t>MITARBEITER:INNEN</a:t>
              </a:r>
            </a:p>
          </p:txBody>
        </p:sp>
        <p:sp>
          <p:nvSpPr>
            <p:cNvPr id="29" name="Rectangle 225">
              <a:extLst>
                <a:ext uri="{FF2B5EF4-FFF2-40B4-BE49-F238E27FC236}">
                  <a16:creationId xmlns:a16="http://schemas.microsoft.com/office/drawing/2014/main" id="{EFC7BC6D-59F4-4688-83F6-1AC6E2F8CF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7954" y="6020328"/>
              <a:ext cx="483076" cy="19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altLang="de-DE" sz="1100" b="1" kern="0" spc="120" dirty="0">
                  <a:solidFill>
                    <a:srgbClr val="404040"/>
                  </a:solidFill>
                  <a:latin typeface="Trebuchet MS" panose="020B0603020202020204" pitchFamily="34" charset="0"/>
                </a:rPr>
                <a:t>900+</a:t>
              </a:r>
            </a:p>
          </p:txBody>
        </p: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D3DBC475-FED0-4FE4-A7D9-A130B57450ED}"/>
                </a:ext>
              </a:extLst>
            </p:cNvPr>
            <p:cNvGrpSpPr/>
            <p:nvPr/>
          </p:nvGrpSpPr>
          <p:grpSpPr>
            <a:xfrm>
              <a:off x="5393335" y="5501700"/>
              <a:ext cx="692315" cy="951821"/>
              <a:chOff x="5673117" y="4915738"/>
              <a:chExt cx="692315" cy="951821"/>
            </a:xfrm>
          </p:grpSpPr>
          <p:sp>
            <p:nvSpPr>
              <p:cNvPr id="5" name="Ellipse 4">
                <a:extLst>
                  <a:ext uri="{FF2B5EF4-FFF2-40B4-BE49-F238E27FC236}">
                    <a16:creationId xmlns:a16="http://schemas.microsoft.com/office/drawing/2014/main" id="{E942FFA3-48DF-42ED-A968-5848385CCCC5}"/>
                  </a:ext>
                </a:extLst>
              </p:cNvPr>
              <p:cNvSpPr/>
              <p:nvPr/>
            </p:nvSpPr>
            <p:spPr>
              <a:xfrm>
                <a:off x="5673117" y="5175244"/>
                <a:ext cx="692315" cy="692315"/>
              </a:xfrm>
              <a:prstGeom prst="ellipse">
                <a:avLst/>
              </a:prstGeom>
              <a:noFill/>
              <a:ln w="19050">
                <a:solidFill>
                  <a:srgbClr val="B2BD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  <a:buClr>
                    <a:srgbClr val="ED1A3B"/>
                  </a:buClr>
                  <a:buSzPct val="80000"/>
                </a:pPr>
                <a:endParaRPr lang="de-AT" sz="1400" dirty="0">
                  <a:solidFill>
                    <a:schemeClr val="tx1"/>
                  </a:solidFill>
                  <a:latin typeface="Trebuchet MS" panose="020B0603020202020204" pitchFamily="34" charset="0"/>
                </a:endParaRPr>
              </a:p>
            </p:txBody>
          </p:sp>
          <p:cxnSp>
            <p:nvCxnSpPr>
              <p:cNvPr id="78" name="Gerader Verbinder 77">
                <a:extLst>
                  <a:ext uri="{FF2B5EF4-FFF2-40B4-BE49-F238E27FC236}">
                    <a16:creationId xmlns:a16="http://schemas.microsoft.com/office/drawing/2014/main" id="{D48F50BD-A1E5-45DB-8552-4CF97D8E7E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19275" y="4915738"/>
                <a:ext cx="0" cy="259506"/>
              </a:xfrm>
              <a:prstGeom prst="line">
                <a:avLst/>
              </a:prstGeom>
              <a:noFill/>
              <a:ln w="19050" cap="flat" cmpd="sng" algn="ctr">
                <a:solidFill>
                  <a:srgbClr val="B2BDC8"/>
                </a:solidFill>
                <a:prstDash val="solid"/>
              </a:ln>
              <a:effectLst/>
            </p:spPr>
          </p:cxnSp>
        </p:grp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21B379B-C7BC-4DD8-B4A2-AA591BAAB4FE}"/>
              </a:ext>
            </a:extLst>
          </p:cNvPr>
          <p:cNvGrpSpPr/>
          <p:nvPr/>
        </p:nvGrpSpPr>
        <p:grpSpPr>
          <a:xfrm>
            <a:off x="4489791" y="5110137"/>
            <a:ext cx="782099" cy="1736073"/>
            <a:chOff x="4601537" y="5194576"/>
            <a:chExt cx="782099" cy="1736073"/>
          </a:xfrm>
        </p:grpSpPr>
        <p:sp>
          <p:nvSpPr>
            <p:cNvPr id="31" name="Rectangle 225">
              <a:extLst>
                <a:ext uri="{FF2B5EF4-FFF2-40B4-BE49-F238E27FC236}">
                  <a16:creationId xmlns:a16="http://schemas.microsoft.com/office/drawing/2014/main" id="{4A52AAE7-0E90-4574-8AA0-A003296A66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0167" y="6510791"/>
              <a:ext cx="483076" cy="19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altLang="de-DE" sz="1100" b="1" kern="0" spc="120" dirty="0">
                  <a:solidFill>
                    <a:srgbClr val="404040"/>
                  </a:solidFill>
                  <a:latin typeface="Trebuchet MS" panose="020B0603020202020204" pitchFamily="34" charset="0"/>
                </a:rPr>
                <a:t>12.000+</a:t>
              </a:r>
            </a:p>
          </p:txBody>
        </p:sp>
        <p:sp>
          <p:nvSpPr>
            <p:cNvPr id="41" name="Textplatzhalter 1">
              <a:extLst>
                <a:ext uri="{FF2B5EF4-FFF2-40B4-BE49-F238E27FC236}">
                  <a16:creationId xmlns:a16="http://schemas.microsoft.com/office/drawing/2014/main" id="{C59FFEC1-EDAD-4EF9-97C0-EBA36C981688}"/>
                </a:ext>
              </a:extLst>
            </p:cNvPr>
            <p:cNvSpPr txBox="1">
              <a:spLocks/>
            </p:cNvSpPr>
            <p:nvPr/>
          </p:nvSpPr>
          <p:spPr>
            <a:xfrm>
              <a:off x="4601537" y="5194576"/>
              <a:ext cx="782099" cy="295492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marR="0" indent="0" algn="l" defTabSz="10080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 typeface="Wingdings 3" panose="05040102010807070707" pitchFamily="18" charset="2"/>
                <a:buNone/>
                <a:tabLst/>
                <a:defRPr kumimoji="0" lang="de-DE" sz="1400" b="0" i="1" u="none" strike="noStrike" kern="1200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defRPr>
              </a:lvl1pPr>
              <a:lvl2pPr marL="488950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4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2pPr>
              <a:lvl3pPr marL="738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2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3pPr>
              <a:lvl4pPr marL="992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sz="900" b="0" i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4pPr>
              <a:lvl5pPr marL="1227138" indent="-241300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tabLst>
                  <a:tab pos="759913" algn="l"/>
                </a:tabLst>
                <a:defRPr sz="900" b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5pPr>
              <a:lvl6pPr marL="288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6pPr>
              <a:lvl7pPr marL="432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7pPr>
              <a:lvl8pPr marL="576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◦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8pPr>
              <a:lvl9pPr marL="720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–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de-AT" sz="800" i="0" spc="110" dirty="0">
                  <a:solidFill>
                    <a:srgbClr val="404040"/>
                  </a:solidFill>
                  <a:ea typeface="+mn-ea"/>
                  <a:cs typeface="+mn-cs"/>
                </a:rPr>
                <a:t>KUND:INNEN</a:t>
              </a:r>
              <a:endParaRPr lang="de-AT" sz="1000" i="0" dirty="0">
                <a:solidFill>
                  <a:srgbClr val="404040"/>
                </a:solidFill>
                <a:ea typeface="+mn-ea"/>
                <a:cs typeface="+mn-cs"/>
              </a:endParaRPr>
            </a:p>
          </p:txBody>
        </p:sp>
        <p:grpSp>
          <p:nvGrpSpPr>
            <p:cNvPr id="79" name="Gruppieren 78">
              <a:extLst>
                <a:ext uri="{FF2B5EF4-FFF2-40B4-BE49-F238E27FC236}">
                  <a16:creationId xmlns:a16="http://schemas.microsoft.com/office/drawing/2014/main" id="{1BFC9BB5-76FF-46C6-ADF3-1FE148E57934}"/>
                </a:ext>
              </a:extLst>
            </p:cNvPr>
            <p:cNvGrpSpPr/>
            <p:nvPr/>
          </p:nvGrpSpPr>
          <p:grpSpPr>
            <a:xfrm>
              <a:off x="4645547" y="5499756"/>
              <a:ext cx="692315" cy="1430893"/>
              <a:chOff x="5673117" y="4436666"/>
              <a:chExt cx="692315" cy="1430893"/>
            </a:xfrm>
          </p:grpSpPr>
          <p:sp>
            <p:nvSpPr>
              <p:cNvPr id="80" name="Ellipse 79">
                <a:extLst>
                  <a:ext uri="{FF2B5EF4-FFF2-40B4-BE49-F238E27FC236}">
                    <a16:creationId xmlns:a16="http://schemas.microsoft.com/office/drawing/2014/main" id="{94149DD6-29A5-4954-8042-CFCB8E248426}"/>
                  </a:ext>
                </a:extLst>
              </p:cNvPr>
              <p:cNvSpPr/>
              <p:nvPr/>
            </p:nvSpPr>
            <p:spPr>
              <a:xfrm>
                <a:off x="5673117" y="5175244"/>
                <a:ext cx="692315" cy="692315"/>
              </a:xfrm>
              <a:prstGeom prst="ellipse">
                <a:avLst/>
              </a:prstGeom>
              <a:noFill/>
              <a:ln w="19050">
                <a:solidFill>
                  <a:srgbClr val="B2BD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  <a:buClr>
                    <a:srgbClr val="ED1A3B"/>
                  </a:buClr>
                  <a:buSzPct val="80000"/>
                </a:pPr>
                <a:endParaRPr lang="de-AT" sz="1400" dirty="0">
                  <a:solidFill>
                    <a:schemeClr val="tx1"/>
                  </a:solidFill>
                  <a:latin typeface="Trebuchet MS" panose="020B0603020202020204" pitchFamily="34" charset="0"/>
                </a:endParaRPr>
              </a:p>
            </p:txBody>
          </p:sp>
          <p:cxnSp>
            <p:nvCxnSpPr>
              <p:cNvPr id="81" name="Gerader Verbinder 80">
                <a:extLst>
                  <a:ext uri="{FF2B5EF4-FFF2-40B4-BE49-F238E27FC236}">
                    <a16:creationId xmlns:a16="http://schemas.microsoft.com/office/drawing/2014/main" id="{AE596691-F3A1-415D-AF96-A6FAD27C3D1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19274" y="4436666"/>
                <a:ext cx="1" cy="738578"/>
              </a:xfrm>
              <a:prstGeom prst="line">
                <a:avLst/>
              </a:prstGeom>
              <a:noFill/>
              <a:ln w="19050" cap="flat" cmpd="sng" algn="ctr">
                <a:solidFill>
                  <a:srgbClr val="B2BDC8"/>
                </a:solidFill>
                <a:prstDash val="solid"/>
              </a:ln>
              <a:effectLst/>
            </p:spPr>
          </p:cxnSp>
        </p:grp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3E60D37-B464-441A-A827-74356D3C9817}"/>
              </a:ext>
            </a:extLst>
          </p:cNvPr>
          <p:cNvGrpSpPr/>
          <p:nvPr/>
        </p:nvGrpSpPr>
        <p:grpSpPr>
          <a:xfrm>
            <a:off x="9265827" y="5434894"/>
            <a:ext cx="1040457" cy="1098791"/>
            <a:chOff x="9377573" y="5194576"/>
            <a:chExt cx="1040457" cy="1098791"/>
          </a:xfrm>
        </p:grpSpPr>
        <p:sp>
          <p:nvSpPr>
            <p:cNvPr id="20" name="Textplatzhalter 1">
              <a:extLst>
                <a:ext uri="{FF2B5EF4-FFF2-40B4-BE49-F238E27FC236}">
                  <a16:creationId xmlns:a16="http://schemas.microsoft.com/office/drawing/2014/main" id="{1369810C-2849-4E61-AA45-7D0410BBA3B0}"/>
                </a:ext>
              </a:extLst>
            </p:cNvPr>
            <p:cNvSpPr txBox="1">
              <a:spLocks/>
            </p:cNvSpPr>
            <p:nvPr/>
          </p:nvSpPr>
          <p:spPr>
            <a:xfrm>
              <a:off x="9377573" y="5194576"/>
              <a:ext cx="1040457" cy="29670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marR="0" indent="0" algn="l" defTabSz="10080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 typeface="Wingdings 3" panose="05040102010807070707" pitchFamily="18" charset="2"/>
                <a:buNone/>
                <a:tabLst/>
                <a:defRPr kumimoji="0" lang="de-DE" sz="1400" b="0" i="1" u="none" strike="noStrike" kern="1200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defRPr>
              </a:lvl1pPr>
              <a:lvl2pPr marL="488950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4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2pPr>
              <a:lvl3pPr marL="738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2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3pPr>
              <a:lvl4pPr marL="992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sz="900" b="0" i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4pPr>
              <a:lvl5pPr marL="1227138" indent="-241300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tabLst>
                  <a:tab pos="759913" algn="l"/>
                </a:tabLst>
                <a:defRPr sz="900" b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5pPr>
              <a:lvl6pPr marL="288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6pPr>
              <a:lvl7pPr marL="432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7pPr>
              <a:lvl8pPr marL="576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◦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8pPr>
              <a:lvl9pPr marL="720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–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de-AT" sz="800" i="0" spc="110" dirty="0">
                  <a:solidFill>
                    <a:srgbClr val="404040"/>
                  </a:solidFill>
                  <a:ea typeface="+mn-ea"/>
                  <a:cs typeface="+mn-cs"/>
                </a:rPr>
                <a:t>GRÜNDUNG</a:t>
              </a:r>
            </a:p>
            <a:p>
              <a:pPr algn="ctr">
                <a:spcBef>
                  <a:spcPts val="0"/>
                </a:spcBef>
                <a:defRPr/>
              </a:pPr>
              <a:endParaRPr lang="de-AT" sz="1000" i="0" dirty="0">
                <a:solidFill>
                  <a:srgbClr val="404040"/>
                </a:solidFill>
                <a:ea typeface="+mn-ea"/>
                <a:cs typeface="+mn-cs"/>
              </a:endParaRPr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ACFF2141-F1F9-4D0A-AFC8-E1AE1FD323C4}"/>
                </a:ext>
              </a:extLst>
            </p:cNvPr>
            <p:cNvGrpSpPr/>
            <p:nvPr/>
          </p:nvGrpSpPr>
          <p:grpSpPr>
            <a:xfrm>
              <a:off x="9551645" y="5341546"/>
              <a:ext cx="692315" cy="951821"/>
              <a:chOff x="9551645" y="5341546"/>
              <a:chExt cx="692315" cy="951821"/>
            </a:xfrm>
          </p:grpSpPr>
          <p:sp>
            <p:nvSpPr>
              <p:cNvPr id="33" name="Rectangle 225">
                <a:extLst>
                  <a:ext uri="{FF2B5EF4-FFF2-40B4-BE49-F238E27FC236}">
                    <a16:creationId xmlns:a16="http://schemas.microsoft.com/office/drawing/2014/main" id="{8ACDEC14-A0BF-43C9-A63D-B2A7030171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56265" y="5860174"/>
                <a:ext cx="483076" cy="1997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286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743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2004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657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base" latinLnBrk="0" hangingPunct="0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altLang="de-DE" sz="1100" b="1" kern="0" spc="120" dirty="0">
                    <a:solidFill>
                      <a:srgbClr val="404040"/>
                    </a:solidFill>
                    <a:latin typeface="Trebuchet MS" panose="020B0603020202020204" pitchFamily="34" charset="0"/>
                  </a:rPr>
                  <a:t>1976</a:t>
                </a:r>
              </a:p>
            </p:txBody>
          </p:sp>
          <p:grpSp>
            <p:nvGrpSpPr>
              <p:cNvPr id="82" name="Gruppieren 81">
                <a:extLst>
                  <a:ext uri="{FF2B5EF4-FFF2-40B4-BE49-F238E27FC236}">
                    <a16:creationId xmlns:a16="http://schemas.microsoft.com/office/drawing/2014/main" id="{5E369B99-5EB9-418C-B02D-FAD934032181}"/>
                  </a:ext>
                </a:extLst>
              </p:cNvPr>
              <p:cNvGrpSpPr/>
              <p:nvPr/>
            </p:nvGrpSpPr>
            <p:grpSpPr>
              <a:xfrm>
                <a:off x="9551645" y="5341546"/>
                <a:ext cx="692315" cy="951821"/>
                <a:chOff x="5673117" y="4755584"/>
                <a:chExt cx="692315" cy="951821"/>
              </a:xfrm>
            </p:grpSpPr>
            <p:sp>
              <p:nvSpPr>
                <p:cNvPr id="83" name="Ellipse 82">
                  <a:extLst>
                    <a:ext uri="{FF2B5EF4-FFF2-40B4-BE49-F238E27FC236}">
                      <a16:creationId xmlns:a16="http://schemas.microsoft.com/office/drawing/2014/main" id="{50E42B5D-8505-49B2-9175-333740BD9046}"/>
                    </a:ext>
                  </a:extLst>
                </p:cNvPr>
                <p:cNvSpPr/>
                <p:nvPr/>
              </p:nvSpPr>
              <p:spPr>
                <a:xfrm>
                  <a:off x="5673117" y="5015090"/>
                  <a:ext cx="692315" cy="692315"/>
                </a:xfrm>
                <a:prstGeom prst="ellipse">
                  <a:avLst/>
                </a:prstGeom>
                <a:noFill/>
                <a:ln w="19050">
                  <a:solidFill>
                    <a:srgbClr val="B2BDC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Aft>
                      <a:spcPts val="600"/>
                    </a:spcAft>
                    <a:buClr>
                      <a:srgbClr val="ED1A3B"/>
                    </a:buClr>
                    <a:buSzPct val="80000"/>
                  </a:pPr>
                  <a:endParaRPr lang="de-AT" sz="1400" dirty="0">
                    <a:solidFill>
                      <a:schemeClr val="tx1"/>
                    </a:solidFill>
                    <a:latin typeface="Trebuchet MS" panose="020B0603020202020204" pitchFamily="34" charset="0"/>
                  </a:endParaRPr>
                </a:p>
              </p:txBody>
            </p:sp>
            <p:cxnSp>
              <p:nvCxnSpPr>
                <p:cNvPr id="84" name="Gerader Verbinder 83">
                  <a:extLst>
                    <a:ext uri="{FF2B5EF4-FFF2-40B4-BE49-F238E27FC236}">
                      <a16:creationId xmlns:a16="http://schemas.microsoft.com/office/drawing/2014/main" id="{F42D4247-AD0C-4C61-BDAF-0D513F8960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019275" y="4755584"/>
                  <a:ext cx="0" cy="259506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B2BDC8"/>
                  </a:solidFill>
                  <a:prstDash val="solid"/>
                </a:ln>
                <a:effectLst/>
              </p:spPr>
            </p:cxnSp>
          </p:grpSp>
        </p:grp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468738A-5428-4266-BF4E-C8F873BEBE05}"/>
              </a:ext>
            </a:extLst>
          </p:cNvPr>
          <p:cNvGrpSpPr/>
          <p:nvPr/>
        </p:nvGrpSpPr>
        <p:grpSpPr>
          <a:xfrm>
            <a:off x="7463481" y="5429312"/>
            <a:ext cx="692316" cy="1104373"/>
            <a:chOff x="7944625" y="5205253"/>
            <a:chExt cx="692316" cy="1104373"/>
          </a:xfrm>
        </p:grpSpPr>
        <p:sp>
          <p:nvSpPr>
            <p:cNvPr id="24" name="Textplatzhalter 1">
              <a:extLst>
                <a:ext uri="{FF2B5EF4-FFF2-40B4-BE49-F238E27FC236}">
                  <a16:creationId xmlns:a16="http://schemas.microsoft.com/office/drawing/2014/main" id="{A5BB0BDD-0EEF-4564-A34F-67EF53AF06EB}"/>
                </a:ext>
              </a:extLst>
            </p:cNvPr>
            <p:cNvSpPr txBox="1">
              <a:spLocks/>
            </p:cNvSpPr>
            <p:nvPr/>
          </p:nvSpPr>
          <p:spPr>
            <a:xfrm>
              <a:off x="7944625" y="5205253"/>
              <a:ext cx="692315" cy="231435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marR="0" indent="0" algn="l" defTabSz="10080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 typeface="Wingdings 3" panose="05040102010807070707" pitchFamily="18" charset="2"/>
                <a:buNone/>
                <a:tabLst/>
                <a:defRPr kumimoji="0" lang="de-DE" sz="1400" b="0" i="1" u="none" strike="noStrike" kern="1200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defRPr>
              </a:lvl1pPr>
              <a:lvl2pPr marL="488950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4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2pPr>
              <a:lvl3pPr marL="738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2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3pPr>
              <a:lvl4pPr marL="992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sz="900" b="0" i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4pPr>
              <a:lvl5pPr marL="1227138" indent="-241300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tabLst>
                  <a:tab pos="759913" algn="l"/>
                </a:tabLst>
                <a:defRPr sz="900" b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5pPr>
              <a:lvl6pPr marL="288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6pPr>
              <a:lvl7pPr marL="432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7pPr>
              <a:lvl8pPr marL="576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◦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8pPr>
              <a:lvl9pPr marL="720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–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de-AT" sz="800" i="0" spc="110" dirty="0">
                  <a:solidFill>
                    <a:srgbClr val="404040"/>
                  </a:solidFill>
                  <a:ea typeface="+mn-ea"/>
                  <a:cs typeface="+mn-cs"/>
                </a:rPr>
                <a:t>STANDORTE</a:t>
              </a:r>
            </a:p>
            <a:p>
              <a:pPr>
                <a:spcBef>
                  <a:spcPts val="0"/>
                </a:spcBef>
                <a:defRPr/>
              </a:pPr>
              <a:endParaRPr lang="de-AT" sz="1000" i="0" dirty="0">
                <a:solidFill>
                  <a:srgbClr val="404040"/>
                </a:solidFill>
                <a:ea typeface="+mn-ea"/>
                <a:cs typeface="+mn-cs"/>
              </a:endParaRPr>
            </a:p>
          </p:txBody>
        </p:sp>
        <p:sp>
          <p:nvSpPr>
            <p:cNvPr id="37" name="Rectangle 225">
              <a:extLst>
                <a:ext uri="{FF2B5EF4-FFF2-40B4-BE49-F238E27FC236}">
                  <a16:creationId xmlns:a16="http://schemas.microsoft.com/office/drawing/2014/main" id="{DC4FDA54-B75A-482F-8BFF-5C47E589B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49246" y="5876433"/>
              <a:ext cx="483076" cy="19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altLang="de-DE" sz="1100" b="1" kern="0" spc="120" dirty="0">
                  <a:solidFill>
                    <a:srgbClr val="404040"/>
                  </a:solidFill>
                  <a:latin typeface="Trebuchet MS" panose="020B0603020202020204" pitchFamily="34" charset="0"/>
                </a:rPr>
                <a:t>9</a:t>
              </a:r>
            </a:p>
          </p:txBody>
        </p:sp>
        <p:grpSp>
          <p:nvGrpSpPr>
            <p:cNvPr id="88" name="Gruppieren 87">
              <a:extLst>
                <a:ext uri="{FF2B5EF4-FFF2-40B4-BE49-F238E27FC236}">
                  <a16:creationId xmlns:a16="http://schemas.microsoft.com/office/drawing/2014/main" id="{D97EC22D-973A-482C-B319-9BB414731A7B}"/>
                </a:ext>
              </a:extLst>
            </p:cNvPr>
            <p:cNvGrpSpPr/>
            <p:nvPr/>
          </p:nvGrpSpPr>
          <p:grpSpPr>
            <a:xfrm>
              <a:off x="7944626" y="5357805"/>
              <a:ext cx="692315" cy="951821"/>
              <a:chOff x="5673117" y="4771843"/>
              <a:chExt cx="692315" cy="951821"/>
            </a:xfrm>
          </p:grpSpPr>
          <p:sp>
            <p:nvSpPr>
              <p:cNvPr id="89" name="Ellipse 88">
                <a:extLst>
                  <a:ext uri="{FF2B5EF4-FFF2-40B4-BE49-F238E27FC236}">
                    <a16:creationId xmlns:a16="http://schemas.microsoft.com/office/drawing/2014/main" id="{D7CD5E28-943F-4378-A72B-C5F2029D0573}"/>
                  </a:ext>
                </a:extLst>
              </p:cNvPr>
              <p:cNvSpPr/>
              <p:nvPr/>
            </p:nvSpPr>
            <p:spPr>
              <a:xfrm>
                <a:off x="5673117" y="5031349"/>
                <a:ext cx="692315" cy="692315"/>
              </a:xfrm>
              <a:prstGeom prst="ellipse">
                <a:avLst/>
              </a:prstGeom>
              <a:noFill/>
              <a:ln w="19050">
                <a:solidFill>
                  <a:srgbClr val="B2BD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  <a:buClr>
                    <a:srgbClr val="ED1A3B"/>
                  </a:buClr>
                  <a:buSzPct val="80000"/>
                </a:pPr>
                <a:endParaRPr lang="de-AT" sz="1400" dirty="0">
                  <a:solidFill>
                    <a:schemeClr val="tx1"/>
                  </a:solidFill>
                  <a:latin typeface="Trebuchet MS" panose="020B0603020202020204" pitchFamily="34" charset="0"/>
                </a:endParaRPr>
              </a:p>
            </p:txBody>
          </p:sp>
          <p:cxnSp>
            <p:nvCxnSpPr>
              <p:cNvPr id="90" name="Gerader Verbinder 89">
                <a:extLst>
                  <a:ext uri="{FF2B5EF4-FFF2-40B4-BE49-F238E27FC236}">
                    <a16:creationId xmlns:a16="http://schemas.microsoft.com/office/drawing/2014/main" id="{2356D858-2032-4B88-ABCE-8AFCC64346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19275" y="4771843"/>
                <a:ext cx="0" cy="259506"/>
              </a:xfrm>
              <a:prstGeom prst="line">
                <a:avLst/>
              </a:prstGeom>
              <a:noFill/>
              <a:ln w="19050" cap="flat" cmpd="sng" algn="ctr">
                <a:solidFill>
                  <a:srgbClr val="B2BDC8"/>
                </a:solidFill>
                <a:prstDash val="solid"/>
              </a:ln>
              <a:effectLst/>
            </p:spPr>
          </p:cxnSp>
        </p:grp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BCC9BE18-2A0D-4E25-B6FF-08522D19A2B8}"/>
              </a:ext>
            </a:extLst>
          </p:cNvPr>
          <p:cNvGrpSpPr/>
          <p:nvPr/>
        </p:nvGrpSpPr>
        <p:grpSpPr>
          <a:xfrm>
            <a:off x="6286388" y="5110137"/>
            <a:ext cx="1186334" cy="1736073"/>
            <a:chOff x="5966626" y="5194576"/>
            <a:chExt cx="1186334" cy="1736073"/>
          </a:xfrm>
        </p:grpSpPr>
        <p:sp>
          <p:nvSpPr>
            <p:cNvPr id="35" name="Rectangle 225">
              <a:extLst>
                <a:ext uri="{FF2B5EF4-FFF2-40B4-BE49-F238E27FC236}">
                  <a16:creationId xmlns:a16="http://schemas.microsoft.com/office/drawing/2014/main" id="{3CEAC09B-9F09-4F87-B7A8-08BFF996DE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5300" y="6518231"/>
              <a:ext cx="483076" cy="19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altLang="de-DE" sz="1100" b="1" kern="0" spc="120" dirty="0">
                  <a:solidFill>
                    <a:srgbClr val="404040"/>
                  </a:solidFill>
                  <a:latin typeface="Trebuchet MS" panose="020B0603020202020204" pitchFamily="34" charset="0"/>
                </a:rPr>
                <a:t>51</a:t>
              </a:r>
            </a:p>
          </p:txBody>
        </p:sp>
        <p:sp>
          <p:nvSpPr>
            <p:cNvPr id="40" name="Textplatzhalter 1">
              <a:extLst>
                <a:ext uri="{FF2B5EF4-FFF2-40B4-BE49-F238E27FC236}">
                  <a16:creationId xmlns:a16="http://schemas.microsoft.com/office/drawing/2014/main" id="{6F5CA6B3-C0F8-406E-B217-79185ED73570}"/>
                </a:ext>
              </a:extLst>
            </p:cNvPr>
            <p:cNvSpPr txBox="1">
              <a:spLocks/>
            </p:cNvSpPr>
            <p:nvPr/>
          </p:nvSpPr>
          <p:spPr>
            <a:xfrm>
              <a:off x="5966626" y="5194576"/>
              <a:ext cx="1186334" cy="20537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marR="0" indent="0" algn="l" defTabSz="10080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 typeface="Wingdings 3" panose="05040102010807070707" pitchFamily="18" charset="2"/>
                <a:buNone/>
                <a:tabLst/>
                <a:defRPr kumimoji="0" lang="de-DE" sz="1400" b="0" i="1" u="none" strike="noStrike" kern="1200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defRPr>
              </a:lvl1pPr>
              <a:lvl2pPr marL="488950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4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2pPr>
              <a:lvl3pPr marL="738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2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3pPr>
              <a:lvl4pPr marL="992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sz="900" b="0" i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4pPr>
              <a:lvl5pPr marL="1227138" indent="-241300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tabLst>
                  <a:tab pos="759913" algn="l"/>
                </a:tabLst>
                <a:defRPr sz="900" b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5pPr>
              <a:lvl6pPr marL="288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6pPr>
              <a:lvl7pPr marL="432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7pPr>
              <a:lvl8pPr marL="576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◦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8pPr>
              <a:lvl9pPr marL="720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–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de-AT" sz="800" i="0" spc="110" dirty="0">
                  <a:solidFill>
                    <a:srgbClr val="404040"/>
                  </a:solidFill>
                  <a:ea typeface="+mn-ea"/>
                  <a:cs typeface="+mn-cs"/>
                </a:rPr>
                <a:t>PARTNER:INNEN</a:t>
              </a:r>
            </a:p>
          </p:txBody>
        </p:sp>
        <p:grpSp>
          <p:nvGrpSpPr>
            <p:cNvPr id="101" name="Gruppieren 100">
              <a:extLst>
                <a:ext uri="{FF2B5EF4-FFF2-40B4-BE49-F238E27FC236}">
                  <a16:creationId xmlns:a16="http://schemas.microsoft.com/office/drawing/2014/main" id="{8A5E3FEA-DF98-4E4D-A4B9-E7F207F85742}"/>
                </a:ext>
              </a:extLst>
            </p:cNvPr>
            <p:cNvGrpSpPr/>
            <p:nvPr/>
          </p:nvGrpSpPr>
          <p:grpSpPr>
            <a:xfrm>
              <a:off x="6168286" y="5499756"/>
              <a:ext cx="692315" cy="1430893"/>
              <a:chOff x="5673117" y="4436666"/>
              <a:chExt cx="692315" cy="1430893"/>
            </a:xfrm>
          </p:grpSpPr>
          <p:sp>
            <p:nvSpPr>
              <p:cNvPr id="102" name="Ellipse 101">
                <a:extLst>
                  <a:ext uri="{FF2B5EF4-FFF2-40B4-BE49-F238E27FC236}">
                    <a16:creationId xmlns:a16="http://schemas.microsoft.com/office/drawing/2014/main" id="{BF2A05AA-8DE1-45A5-8984-CAFA73027379}"/>
                  </a:ext>
                </a:extLst>
              </p:cNvPr>
              <p:cNvSpPr/>
              <p:nvPr/>
            </p:nvSpPr>
            <p:spPr>
              <a:xfrm>
                <a:off x="5673117" y="5175244"/>
                <a:ext cx="692315" cy="692315"/>
              </a:xfrm>
              <a:prstGeom prst="ellipse">
                <a:avLst/>
              </a:prstGeom>
              <a:noFill/>
              <a:ln w="19050">
                <a:solidFill>
                  <a:srgbClr val="B2BD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  <a:buClr>
                    <a:srgbClr val="ED1A3B"/>
                  </a:buClr>
                  <a:buSzPct val="80000"/>
                </a:pPr>
                <a:endParaRPr lang="de-AT" sz="1400" dirty="0">
                  <a:solidFill>
                    <a:schemeClr val="tx1"/>
                  </a:solidFill>
                  <a:latin typeface="Trebuchet MS" panose="020B0603020202020204" pitchFamily="34" charset="0"/>
                </a:endParaRPr>
              </a:p>
            </p:txBody>
          </p:sp>
          <p:cxnSp>
            <p:nvCxnSpPr>
              <p:cNvPr id="104" name="Gerader Verbinder 103">
                <a:extLst>
                  <a:ext uri="{FF2B5EF4-FFF2-40B4-BE49-F238E27FC236}">
                    <a16:creationId xmlns:a16="http://schemas.microsoft.com/office/drawing/2014/main" id="{5778EA59-00BF-4D6B-B6D6-48310B2103A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19274" y="4436666"/>
                <a:ext cx="1" cy="738578"/>
              </a:xfrm>
              <a:prstGeom prst="line">
                <a:avLst/>
              </a:prstGeom>
              <a:noFill/>
              <a:ln w="19050" cap="flat" cmpd="sng" algn="ctr">
                <a:solidFill>
                  <a:srgbClr val="B2BDC8"/>
                </a:solidFill>
                <a:prstDash val="solid"/>
              </a:ln>
              <a:effectLst/>
            </p:spPr>
          </p:cxnSp>
        </p:grp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431623-A595-46E7-A17F-D98385BD23F9}"/>
              </a:ext>
            </a:extLst>
          </p:cNvPr>
          <p:cNvGrpSpPr/>
          <p:nvPr/>
        </p:nvGrpSpPr>
        <p:grpSpPr>
          <a:xfrm>
            <a:off x="8260037" y="5120814"/>
            <a:ext cx="1038467" cy="1725396"/>
            <a:chOff x="8582574" y="5205253"/>
            <a:chExt cx="1038467" cy="1725396"/>
          </a:xfrm>
        </p:grpSpPr>
        <p:sp>
          <p:nvSpPr>
            <p:cNvPr id="39" name="Rectangle 225">
              <a:extLst>
                <a:ext uri="{FF2B5EF4-FFF2-40B4-BE49-F238E27FC236}">
                  <a16:creationId xmlns:a16="http://schemas.microsoft.com/office/drawing/2014/main" id="{30F8A955-33AB-40FF-B998-370B5235F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58808" y="6375687"/>
              <a:ext cx="483076" cy="484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altLang="de-DE" sz="800" b="1" kern="0" spc="120" dirty="0">
                  <a:solidFill>
                    <a:srgbClr val="404040"/>
                  </a:solidFill>
                  <a:latin typeface="Trebuchet MS" panose="020B0603020202020204" pitchFamily="34" charset="0"/>
                </a:rPr>
                <a:t>EUR</a:t>
              </a:r>
              <a:br>
                <a:rPr lang="de-DE" altLang="de-DE" sz="1100" b="1" kern="0" spc="120" dirty="0">
                  <a:solidFill>
                    <a:srgbClr val="404040"/>
                  </a:solidFill>
                  <a:latin typeface="Trebuchet MS" panose="020B0603020202020204" pitchFamily="34" charset="0"/>
                </a:rPr>
              </a:br>
              <a:r>
                <a:rPr lang="de-DE" altLang="de-DE" sz="1100" b="1" kern="0" spc="120" dirty="0">
                  <a:solidFill>
                    <a:srgbClr val="404040"/>
                  </a:solidFill>
                  <a:latin typeface="Trebuchet MS" panose="020B0603020202020204" pitchFamily="34" charset="0"/>
                </a:rPr>
                <a:t>102,7</a:t>
              </a:r>
              <a:br>
                <a:rPr lang="de-DE" altLang="de-DE" sz="1100" b="1" kern="0" spc="120" dirty="0">
                  <a:solidFill>
                    <a:srgbClr val="404040"/>
                  </a:solidFill>
                  <a:latin typeface="Trebuchet MS" panose="020B0603020202020204" pitchFamily="34" charset="0"/>
                </a:rPr>
              </a:br>
              <a:r>
                <a:rPr lang="de-DE" altLang="de-DE" sz="800" b="1" kern="0" spc="120" dirty="0">
                  <a:solidFill>
                    <a:srgbClr val="404040"/>
                  </a:solidFill>
                  <a:latin typeface="Trebuchet MS" panose="020B0603020202020204" pitchFamily="34" charset="0"/>
                </a:rPr>
                <a:t>MIO.</a:t>
              </a:r>
              <a:endParaRPr lang="de-DE" altLang="de-DE" sz="1100" b="1" kern="0" spc="120" dirty="0">
                <a:solidFill>
                  <a:srgbClr val="404040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2" name="Textplatzhalter 1">
              <a:extLst>
                <a:ext uri="{FF2B5EF4-FFF2-40B4-BE49-F238E27FC236}">
                  <a16:creationId xmlns:a16="http://schemas.microsoft.com/office/drawing/2014/main" id="{B1A8008C-3A0B-4CA2-908B-10E91949A545}"/>
                </a:ext>
              </a:extLst>
            </p:cNvPr>
            <p:cNvSpPr txBox="1">
              <a:spLocks/>
            </p:cNvSpPr>
            <p:nvPr/>
          </p:nvSpPr>
          <p:spPr>
            <a:xfrm>
              <a:off x="8582574" y="5205253"/>
              <a:ext cx="1038467" cy="294503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marR="0" indent="0" algn="l" defTabSz="10080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 typeface="Wingdings 3" panose="05040102010807070707" pitchFamily="18" charset="2"/>
                <a:buNone/>
                <a:tabLst/>
                <a:defRPr kumimoji="0" lang="de-DE" sz="1400" b="0" i="1" u="none" strike="noStrike" kern="1200" cap="none" spc="0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j-ea"/>
                  <a:cs typeface="+mj-cs"/>
                  <a:sym typeface="Arial"/>
                </a:defRPr>
              </a:lvl1pPr>
              <a:lvl2pPr marL="488950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4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2pPr>
              <a:lvl3pPr marL="738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kumimoji="0" lang="de-DE" sz="1200" b="0" i="0" u="none" strike="noStrike" kern="1200" cap="none" spc="0" normalizeH="0" baseline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Arial"/>
                </a:defRPr>
              </a:lvl3pPr>
              <a:lvl4pPr marL="992188" indent="-250825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defRPr sz="900" b="0" i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4pPr>
              <a:lvl5pPr marL="1227138" indent="-241300" algn="l" defTabSz="966246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100000"/>
                <a:buFont typeface="Wingdings" panose="05000000000000000000" pitchFamily="2" charset="2"/>
                <a:buChar char="§"/>
                <a:tabLst>
                  <a:tab pos="759913" algn="l"/>
                </a:tabLst>
                <a:defRPr sz="900" b="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5pPr>
              <a:lvl6pPr marL="288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6pPr>
              <a:lvl7pPr marL="432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7pPr>
              <a:lvl8pPr marL="576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◦"/>
                <a:defRPr sz="900" kern="120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8pPr>
              <a:lvl9pPr marL="720000" indent="-144000" algn="l" defTabSz="966246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–"/>
                <a:defRPr sz="900" kern="1200" baseline="0">
                  <a:solidFill>
                    <a:schemeClr val="tx1"/>
                  </a:solidFill>
                  <a:latin typeface="Trebuchet MS" panose="020B0603020202020204" pitchFamily="34" charset="0"/>
                  <a:ea typeface="+mn-ea"/>
                  <a:cs typeface="Arial" pitchFamily="34" charset="0"/>
                </a:defRPr>
              </a:lvl9pPr>
            </a:lstStyle>
            <a:p>
              <a:pPr algn="ctr">
                <a:spcBef>
                  <a:spcPts val="0"/>
                </a:spcBef>
                <a:defRPr/>
              </a:pPr>
              <a:r>
                <a:rPr lang="de-AT" sz="800" i="0" spc="110" dirty="0">
                  <a:solidFill>
                    <a:srgbClr val="404040"/>
                  </a:solidFill>
                  <a:ea typeface="+mn-ea"/>
                  <a:cs typeface="+mn-cs"/>
                </a:rPr>
                <a:t>UMSATZ 2020/21</a:t>
              </a:r>
            </a:p>
            <a:p>
              <a:pPr algn="ctr">
                <a:spcBef>
                  <a:spcPts val="0"/>
                </a:spcBef>
                <a:defRPr/>
              </a:pPr>
              <a:endParaRPr lang="de-AT" sz="1000" i="0" dirty="0">
                <a:solidFill>
                  <a:srgbClr val="404040"/>
                </a:solidFill>
                <a:ea typeface="+mn-ea"/>
                <a:cs typeface="+mn-cs"/>
              </a:endParaRPr>
            </a:p>
          </p:txBody>
        </p:sp>
        <p:grpSp>
          <p:nvGrpSpPr>
            <p:cNvPr id="105" name="Gruppieren 104">
              <a:extLst>
                <a:ext uri="{FF2B5EF4-FFF2-40B4-BE49-F238E27FC236}">
                  <a16:creationId xmlns:a16="http://schemas.microsoft.com/office/drawing/2014/main" id="{4565C28A-E71D-4BF7-9C0C-EE875A57C755}"/>
                </a:ext>
              </a:extLst>
            </p:cNvPr>
            <p:cNvGrpSpPr/>
            <p:nvPr/>
          </p:nvGrpSpPr>
          <p:grpSpPr>
            <a:xfrm>
              <a:off x="8755651" y="5499756"/>
              <a:ext cx="692315" cy="1430893"/>
              <a:chOff x="5673117" y="4436666"/>
              <a:chExt cx="692315" cy="1430893"/>
            </a:xfrm>
          </p:grpSpPr>
          <p:sp>
            <p:nvSpPr>
              <p:cNvPr id="106" name="Ellipse 105">
                <a:extLst>
                  <a:ext uri="{FF2B5EF4-FFF2-40B4-BE49-F238E27FC236}">
                    <a16:creationId xmlns:a16="http://schemas.microsoft.com/office/drawing/2014/main" id="{05E13454-B822-4406-8E06-00A5D483CF38}"/>
                  </a:ext>
                </a:extLst>
              </p:cNvPr>
              <p:cNvSpPr/>
              <p:nvPr/>
            </p:nvSpPr>
            <p:spPr>
              <a:xfrm>
                <a:off x="5673117" y="5175244"/>
                <a:ext cx="692315" cy="692315"/>
              </a:xfrm>
              <a:prstGeom prst="ellipse">
                <a:avLst/>
              </a:prstGeom>
              <a:noFill/>
              <a:ln w="19050">
                <a:solidFill>
                  <a:srgbClr val="B2BD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  <a:buClr>
                    <a:srgbClr val="ED1A3B"/>
                  </a:buClr>
                  <a:buSzPct val="80000"/>
                </a:pPr>
                <a:endParaRPr lang="de-AT" sz="1400" dirty="0">
                  <a:solidFill>
                    <a:schemeClr val="tx1"/>
                  </a:solidFill>
                  <a:latin typeface="Trebuchet MS" panose="020B0603020202020204" pitchFamily="34" charset="0"/>
                </a:endParaRPr>
              </a:p>
            </p:txBody>
          </p:sp>
          <p:cxnSp>
            <p:nvCxnSpPr>
              <p:cNvPr id="107" name="Gerader Verbinder 106">
                <a:extLst>
                  <a:ext uri="{FF2B5EF4-FFF2-40B4-BE49-F238E27FC236}">
                    <a16:creationId xmlns:a16="http://schemas.microsoft.com/office/drawing/2014/main" id="{8396C018-14D0-4D7A-9DFE-62C0BADA8A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19274" y="4436666"/>
                <a:ext cx="1" cy="738578"/>
              </a:xfrm>
              <a:prstGeom prst="line">
                <a:avLst/>
              </a:prstGeom>
              <a:noFill/>
              <a:ln w="19050" cap="flat" cmpd="sng" algn="ctr">
                <a:solidFill>
                  <a:srgbClr val="B2BDC8"/>
                </a:solidFill>
                <a:prstDash val="solid"/>
              </a:ln>
              <a:effectLst/>
            </p:spPr>
          </p:cxnSp>
        </p:grpSp>
      </p:grp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B2D84CB2-60D2-43B3-B1D6-02E8DF0DA4D5}"/>
              </a:ext>
            </a:extLst>
          </p:cNvPr>
          <p:cNvCxnSpPr>
            <a:cxnSpLocks/>
          </p:cNvCxnSpPr>
          <p:nvPr/>
        </p:nvCxnSpPr>
        <p:spPr>
          <a:xfrm flipH="1">
            <a:off x="4802332" y="3713350"/>
            <a:ext cx="865498" cy="0"/>
          </a:xfrm>
          <a:prstGeom prst="line">
            <a:avLst/>
          </a:prstGeom>
          <a:noFill/>
          <a:ln w="28575" cap="flat" cmpd="sng" algn="ctr">
            <a:solidFill>
              <a:srgbClr val="B2BDC8"/>
            </a:solidFill>
            <a:prstDash val="solid"/>
          </a:ln>
          <a:effectLst/>
        </p:spPr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E2763B72-F8C2-421D-97F5-1E27BCD50379}"/>
              </a:ext>
            </a:extLst>
          </p:cNvPr>
          <p:cNvCxnSpPr>
            <a:cxnSpLocks/>
          </p:cNvCxnSpPr>
          <p:nvPr/>
        </p:nvCxnSpPr>
        <p:spPr>
          <a:xfrm flipH="1">
            <a:off x="7447679" y="3713350"/>
            <a:ext cx="1421207" cy="0"/>
          </a:xfrm>
          <a:prstGeom prst="line">
            <a:avLst/>
          </a:prstGeom>
          <a:noFill/>
          <a:ln w="28575" cap="flat" cmpd="sng" algn="ctr">
            <a:solidFill>
              <a:srgbClr val="B2BDC8"/>
            </a:solidFill>
            <a:prstDash val="solid"/>
          </a:ln>
          <a:effectLst/>
        </p:spPr>
      </p:cxnSp>
      <p:sp>
        <p:nvSpPr>
          <p:cNvPr id="69" name="Freihandform: Form 68">
            <a:extLst>
              <a:ext uri="{FF2B5EF4-FFF2-40B4-BE49-F238E27FC236}">
                <a16:creationId xmlns:a16="http://schemas.microsoft.com/office/drawing/2014/main" id="{20BD7CD8-DD05-4E5F-8EE6-DD84329BC39F}"/>
              </a:ext>
            </a:extLst>
          </p:cNvPr>
          <p:cNvSpPr/>
          <p:nvPr/>
        </p:nvSpPr>
        <p:spPr>
          <a:xfrm rot="16200000">
            <a:off x="5892245" y="1382652"/>
            <a:ext cx="954206" cy="1900739"/>
          </a:xfrm>
          <a:custGeom>
            <a:avLst/>
            <a:gdLst>
              <a:gd name="connsiteX0" fmla="*/ 1474516 w 1480469"/>
              <a:gd name="connsiteY0" fmla="*/ 0 h 2949032"/>
              <a:gd name="connsiteX1" fmla="*/ 1480469 w 1480469"/>
              <a:gd name="connsiteY1" fmla="*/ 301 h 2949032"/>
              <a:gd name="connsiteX2" fmla="*/ 1480469 w 1480469"/>
              <a:gd name="connsiteY2" fmla="*/ 2948732 h 2949032"/>
              <a:gd name="connsiteX3" fmla="*/ 1474516 w 1480469"/>
              <a:gd name="connsiteY3" fmla="*/ 2949032 h 2949032"/>
              <a:gd name="connsiteX4" fmla="*/ 0 w 1480469"/>
              <a:gd name="connsiteY4" fmla="*/ 1474516 h 2949032"/>
              <a:gd name="connsiteX5" fmla="*/ 1474516 w 1480469"/>
              <a:gd name="connsiteY5" fmla="*/ 0 h 2949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80469" h="2949032">
                <a:moveTo>
                  <a:pt x="1474516" y="0"/>
                </a:moveTo>
                <a:lnTo>
                  <a:pt x="1480469" y="301"/>
                </a:lnTo>
                <a:lnTo>
                  <a:pt x="1480469" y="2948732"/>
                </a:lnTo>
                <a:lnTo>
                  <a:pt x="1474516" y="2949032"/>
                </a:lnTo>
                <a:cubicBezTo>
                  <a:pt x="660163" y="2949032"/>
                  <a:pt x="0" y="2288869"/>
                  <a:pt x="0" y="1474516"/>
                </a:cubicBezTo>
                <a:cubicBezTo>
                  <a:pt x="0" y="660163"/>
                  <a:pt x="660163" y="0"/>
                  <a:pt x="1474516" y="0"/>
                </a:cubicBezTo>
                <a:close/>
              </a:path>
            </a:pathLst>
          </a:custGeom>
          <a:solidFill>
            <a:srgbClr val="41BB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2" name="Titel 2">
            <a:extLst>
              <a:ext uri="{FF2B5EF4-FFF2-40B4-BE49-F238E27FC236}">
                <a16:creationId xmlns:a16="http://schemas.microsoft.com/office/drawing/2014/main" id="{37335340-B227-4D7B-9998-2FA28ADAB04D}"/>
              </a:ext>
            </a:extLst>
          </p:cNvPr>
          <p:cNvSpPr txBox="1">
            <a:spLocks/>
          </p:cNvSpPr>
          <p:nvPr/>
        </p:nvSpPr>
        <p:spPr>
          <a:xfrm>
            <a:off x="377800" y="316944"/>
            <a:ext cx="3814746" cy="97154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66246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b="1" kern="1200" cap="all" baseline="0">
                <a:solidFill>
                  <a:srgbClr val="404040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de-AT" sz="3600" dirty="0">
                <a:solidFill>
                  <a:schemeClr val="bg1"/>
                </a:solidFill>
              </a:rPr>
              <a:t>WER WIR SIND</a:t>
            </a:r>
          </a:p>
        </p:txBody>
      </p:sp>
      <p:sp>
        <p:nvSpPr>
          <p:cNvPr id="73" name="Textplatzhalter 1">
            <a:extLst>
              <a:ext uri="{FF2B5EF4-FFF2-40B4-BE49-F238E27FC236}">
                <a16:creationId xmlns:a16="http://schemas.microsoft.com/office/drawing/2014/main" id="{24EECC54-CE54-4673-B9FA-C8B9FF9A84C4}"/>
              </a:ext>
            </a:extLst>
          </p:cNvPr>
          <p:cNvSpPr txBox="1">
            <a:spLocks/>
          </p:cNvSpPr>
          <p:nvPr/>
        </p:nvSpPr>
        <p:spPr>
          <a:xfrm>
            <a:off x="392812" y="1332359"/>
            <a:ext cx="2521253" cy="3737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marR="0" indent="0" algn="l" defTabSz="10080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None/>
              <a:tabLst/>
              <a:defRPr kumimoji="0" lang="de-DE" sz="1400" b="0" i="1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de-AT" sz="2000" i="0" spc="200" dirty="0">
                <a:solidFill>
                  <a:schemeClr val="bg1"/>
                </a:solidFill>
                <a:latin typeface="Trebuchet MS"/>
                <a:ea typeface="+mn-ea"/>
                <a:cs typeface="+mn-cs"/>
              </a:rPr>
              <a:t>BDO AUSTRIA</a:t>
            </a:r>
            <a:endParaRPr lang="de-AT" sz="2000" i="0" spc="200" dirty="0">
              <a:solidFill>
                <a:schemeClr val="bg1"/>
              </a:solidFill>
            </a:endParaRPr>
          </a:p>
        </p:txBody>
      </p:sp>
      <p:sp>
        <p:nvSpPr>
          <p:cNvPr id="75" name="Textplatzhalter 1">
            <a:extLst>
              <a:ext uri="{FF2B5EF4-FFF2-40B4-BE49-F238E27FC236}">
                <a16:creationId xmlns:a16="http://schemas.microsoft.com/office/drawing/2014/main" id="{4927905D-1770-4912-AB8E-727988FCB069}"/>
              </a:ext>
            </a:extLst>
          </p:cNvPr>
          <p:cNvSpPr txBox="1">
            <a:spLocks/>
          </p:cNvSpPr>
          <p:nvPr/>
        </p:nvSpPr>
        <p:spPr>
          <a:xfrm>
            <a:off x="392813" y="2224018"/>
            <a:ext cx="3499362" cy="36724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marR="0" indent="0" algn="l" defTabSz="10080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None/>
              <a:tabLst/>
              <a:defRPr kumimoji="0" lang="de-DE" sz="1400" b="0" i="1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de-AT" i="0" dirty="0">
                <a:solidFill>
                  <a:schemeClr val="bg1"/>
                </a:solidFill>
                <a:latin typeface="Trebuchet MS"/>
                <a:ea typeface="+mn-ea"/>
                <a:cs typeface="+mn-cs"/>
              </a:rPr>
              <a:t>Großartiges Unternehmertum verdient besondere Aufmerksamkeit!</a:t>
            </a:r>
          </a:p>
          <a:p>
            <a:pPr>
              <a:spcBef>
                <a:spcPts val="0"/>
              </a:spcBef>
              <a:defRPr/>
            </a:pPr>
            <a:r>
              <a:rPr lang="de-AT" i="0" dirty="0">
                <a:solidFill>
                  <a:schemeClr val="bg1"/>
                </a:solidFill>
                <a:latin typeface="Trebuchet MS"/>
              </a:rPr>
              <a:t>Nur wer zuhört und versteht, kann Sie auch umfassend betreuen. Darum ist </a:t>
            </a:r>
            <a:r>
              <a:rPr lang="de-AT" i="0" dirty="0">
                <a:solidFill>
                  <a:schemeClr val="bg1"/>
                </a:solidFill>
                <a:latin typeface="Trebuchet MS"/>
                <a:ea typeface="+mn-ea"/>
                <a:cs typeface="+mn-cs"/>
              </a:rPr>
              <a:t>BDO Ihr verlässlicher Wegbegleiter. Zusammen stellen wir die Weichen für Ihr Projekt und finden passende Lösungen – damit Sie sicher ins Ziel kommen.</a:t>
            </a:r>
          </a:p>
          <a:p>
            <a:pPr>
              <a:spcBef>
                <a:spcPts val="0"/>
              </a:spcBef>
              <a:defRPr/>
            </a:pPr>
            <a:r>
              <a:rPr lang="de-AT" i="0" dirty="0">
                <a:solidFill>
                  <a:schemeClr val="bg1"/>
                </a:solidFill>
                <a:latin typeface="Trebuchet MS"/>
              </a:rPr>
              <a:t>Für Ihre Strategie setzen wir alle Hebel in Bewegung: Je nach Aufgabenstellung stellen wir das optimale Team für Sie zusammen.</a:t>
            </a:r>
          </a:p>
          <a:p>
            <a:pPr>
              <a:spcBef>
                <a:spcPts val="0"/>
              </a:spcBef>
              <a:defRPr/>
            </a:pPr>
            <a:endParaRPr lang="de-AT" i="0" dirty="0">
              <a:solidFill>
                <a:schemeClr val="bg1"/>
              </a:solidFill>
              <a:latin typeface="Trebuchet MS"/>
            </a:endParaRPr>
          </a:p>
          <a:p>
            <a:pPr>
              <a:spcBef>
                <a:spcPts val="0"/>
              </a:spcBef>
              <a:tabLst>
                <a:tab pos="269875" algn="l"/>
              </a:tabLst>
              <a:defRPr/>
            </a:pPr>
            <a:r>
              <a:rPr lang="de-AT" b="1" i="0" spc="110" dirty="0">
                <a:solidFill>
                  <a:schemeClr val="bg1"/>
                </a:solidFill>
                <a:latin typeface="Trebuchet MS"/>
              </a:rPr>
              <a:t>Das macht uns zu BDO.</a:t>
            </a:r>
            <a:br>
              <a:rPr lang="de-AT" b="1" i="0" spc="110" dirty="0">
                <a:solidFill>
                  <a:schemeClr val="bg1"/>
                </a:solidFill>
                <a:latin typeface="Trebuchet MS"/>
              </a:rPr>
            </a:br>
            <a:r>
              <a:rPr lang="de-AT" b="1" i="0" spc="110" dirty="0">
                <a:solidFill>
                  <a:schemeClr val="bg1"/>
                </a:solidFill>
                <a:latin typeface="Trebuchet MS"/>
              </a:rPr>
              <a:t>Und uns gemeinsam </a:t>
            </a:r>
            <a:r>
              <a:rPr lang="de-AT" b="1" i="0" spc="110" dirty="0" err="1">
                <a:solidFill>
                  <a:schemeClr val="bg1"/>
                </a:solidFill>
                <a:latin typeface="Trebuchet MS"/>
              </a:rPr>
              <a:t>great</a:t>
            </a:r>
            <a:r>
              <a:rPr lang="de-AT" b="1" i="0" spc="110" dirty="0">
                <a:solidFill>
                  <a:schemeClr val="bg1"/>
                </a:solidFill>
                <a:latin typeface="Trebuchet MS"/>
              </a:rPr>
              <a:t>.</a:t>
            </a:r>
          </a:p>
          <a:p>
            <a:pPr>
              <a:spcBef>
                <a:spcPts val="0"/>
              </a:spcBef>
              <a:defRPr/>
            </a:pPr>
            <a:endParaRPr lang="de-AT" i="0" dirty="0">
              <a:solidFill>
                <a:schemeClr val="bg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151B9A2-B002-FCA8-69EC-09FD654FB0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9189E84-B565-E116-E580-1E1E854F4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7491612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5A5FF94-E4E3-4AAB-BEB4-3B1844AB22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8" progId="TCLayout.ActiveDocument.1">
                  <p:embed/>
                </p:oleObj>
              </mc:Choice>
              <mc:Fallback>
                <p:oleObj name="think-cell Folie" r:id="rId4" imgW="306" imgH="3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5A5FF94-E4E3-4AAB-BEB4-3B1844AB2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40A2D92-BC2D-4CAA-9DBF-14074A0917F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19DD9DB-8A27-4F10-8268-2BB6B50DA1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Maßnahmen und Sanktionen</a:t>
            </a:r>
          </a:p>
          <a:p>
            <a:endParaRPr lang="de-AT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6BF9026-EB6F-4406-9EBB-8301FC0D4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856" y="0"/>
            <a:ext cx="9892905" cy="971548"/>
          </a:xfrm>
        </p:spPr>
        <p:txBody>
          <a:bodyPr vert="horz" anchor="b" anchorCtr="0"/>
          <a:lstStyle/>
          <a:p>
            <a:r>
              <a:rPr lang="de-AT" dirty="0"/>
              <a:t>Netz– und </a:t>
            </a:r>
            <a:r>
              <a:rPr lang="de-AT" dirty="0" err="1"/>
              <a:t>informationssicherheitsrichtlinie</a:t>
            </a:r>
            <a:r>
              <a:rPr lang="de-AT" dirty="0"/>
              <a:t> NEU („NIS2-RL“)</a:t>
            </a:r>
            <a:endParaRPr lang="de-AT" sz="2400" dirty="0">
              <a:solidFill>
                <a:schemeClr val="tx1"/>
              </a:solidFill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2AA12528-F9E6-451A-9E6A-19FA80FCCE8D}"/>
              </a:ext>
            </a:extLst>
          </p:cNvPr>
          <p:cNvGrpSpPr/>
          <p:nvPr/>
        </p:nvGrpSpPr>
        <p:grpSpPr>
          <a:xfrm>
            <a:off x="0" y="1607468"/>
            <a:ext cx="787341" cy="480888"/>
            <a:chOff x="0" y="1607468"/>
            <a:chExt cx="787341" cy="480888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4CBE990E-A666-4515-B218-16AADC493239}"/>
                </a:ext>
              </a:extLst>
            </p:cNvPr>
            <p:cNvGrpSpPr/>
            <p:nvPr/>
          </p:nvGrpSpPr>
          <p:grpSpPr>
            <a:xfrm>
              <a:off x="221337" y="1607468"/>
              <a:ext cx="566004" cy="480888"/>
              <a:chOff x="253184" y="1763716"/>
              <a:chExt cx="1010561" cy="858592"/>
            </a:xfrm>
          </p:grpSpPr>
          <p:sp>
            <p:nvSpPr>
              <p:cNvPr id="10" name="Ellipse 27">
                <a:extLst>
                  <a:ext uri="{FF2B5EF4-FFF2-40B4-BE49-F238E27FC236}">
                    <a16:creationId xmlns:a16="http://schemas.microsoft.com/office/drawing/2014/main" id="{CB64FCA4-AE4A-4093-97E7-946A56EB01F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3184" y="1763716"/>
                <a:ext cx="858592" cy="858592"/>
              </a:xfrm>
              <a:prstGeom prst="ellipse">
                <a:avLst/>
              </a:prstGeom>
              <a:solidFill>
                <a:srgbClr val="E0E5E9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ED1A3B"/>
                  </a:buClr>
                  <a:buSzPct val="80000"/>
                  <a:buFontTx/>
                  <a:buNone/>
                  <a:tabLst/>
                  <a:defRPr/>
                </a:pPr>
                <a:endParaRPr kumimoji="0" lang="de-AT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" name="Bogen 10">
                <a:extLst>
                  <a:ext uri="{FF2B5EF4-FFF2-40B4-BE49-F238E27FC236}">
                    <a16:creationId xmlns:a16="http://schemas.microsoft.com/office/drawing/2014/main" id="{D58B4270-B232-4FD2-90EC-D2CB2E2F6F64}"/>
                  </a:ext>
                </a:extLst>
              </p:cNvPr>
              <p:cNvSpPr/>
              <p:nvPr/>
            </p:nvSpPr>
            <p:spPr>
              <a:xfrm>
                <a:off x="406063" y="1763716"/>
                <a:ext cx="857682" cy="857682"/>
              </a:xfrm>
              <a:prstGeom prst="arc">
                <a:avLst>
                  <a:gd name="adj1" fmla="val 3099742"/>
                  <a:gd name="adj2" fmla="val 18885834"/>
                </a:avLst>
              </a:prstGeom>
              <a:ln w="1905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E829928E-DCB6-4B4C-A392-157105EBB83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35829"/>
              <a:ext cx="306140" cy="586"/>
            </a:xfrm>
            <a:prstGeom prst="line">
              <a:avLst/>
            </a:prstGeom>
            <a:ln w="19050">
              <a:solidFill>
                <a:srgbClr val="3440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1D2C6FA1-C3E5-4313-98B0-717373332517}"/>
              </a:ext>
            </a:extLst>
          </p:cNvPr>
          <p:cNvGrpSpPr/>
          <p:nvPr/>
        </p:nvGrpSpPr>
        <p:grpSpPr>
          <a:xfrm>
            <a:off x="0" y="3996655"/>
            <a:ext cx="787341" cy="480888"/>
            <a:chOff x="0" y="1607468"/>
            <a:chExt cx="787341" cy="480888"/>
          </a:xfrm>
        </p:grpSpPr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56424B5B-E2C8-46C2-996B-4E3CC7DF5795}"/>
                </a:ext>
              </a:extLst>
            </p:cNvPr>
            <p:cNvGrpSpPr/>
            <p:nvPr/>
          </p:nvGrpSpPr>
          <p:grpSpPr>
            <a:xfrm>
              <a:off x="221337" y="1607468"/>
              <a:ext cx="566004" cy="480888"/>
              <a:chOff x="253184" y="1763716"/>
              <a:chExt cx="1010561" cy="858592"/>
            </a:xfrm>
          </p:grpSpPr>
          <p:sp>
            <p:nvSpPr>
              <p:cNvPr id="42" name="Ellipse 27">
                <a:extLst>
                  <a:ext uri="{FF2B5EF4-FFF2-40B4-BE49-F238E27FC236}">
                    <a16:creationId xmlns:a16="http://schemas.microsoft.com/office/drawing/2014/main" id="{C6EA9706-559B-404A-BE95-CEE3BBEFA28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3184" y="1763716"/>
                <a:ext cx="858592" cy="858592"/>
              </a:xfrm>
              <a:prstGeom prst="ellipse">
                <a:avLst/>
              </a:prstGeom>
              <a:solidFill>
                <a:srgbClr val="E0E5E9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ED1A3B"/>
                  </a:buClr>
                  <a:buSzPct val="80000"/>
                  <a:buFontTx/>
                  <a:buNone/>
                  <a:tabLst/>
                  <a:defRPr/>
                </a:pPr>
                <a:endParaRPr kumimoji="0" lang="de-AT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Bogen 42">
                <a:extLst>
                  <a:ext uri="{FF2B5EF4-FFF2-40B4-BE49-F238E27FC236}">
                    <a16:creationId xmlns:a16="http://schemas.microsoft.com/office/drawing/2014/main" id="{6FD76F12-D794-4F83-BFE5-01FCE905CD5F}"/>
                  </a:ext>
                </a:extLst>
              </p:cNvPr>
              <p:cNvSpPr/>
              <p:nvPr/>
            </p:nvSpPr>
            <p:spPr>
              <a:xfrm>
                <a:off x="406063" y="1763716"/>
                <a:ext cx="857682" cy="857682"/>
              </a:xfrm>
              <a:prstGeom prst="arc">
                <a:avLst>
                  <a:gd name="adj1" fmla="val 3099742"/>
                  <a:gd name="adj2" fmla="val 18885834"/>
                </a:avLst>
              </a:prstGeom>
              <a:ln w="1905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cxnSp>
          <p:nvCxnSpPr>
            <p:cNvPr id="41" name="Gerader Verbinder 40">
              <a:extLst>
                <a:ext uri="{FF2B5EF4-FFF2-40B4-BE49-F238E27FC236}">
                  <a16:creationId xmlns:a16="http://schemas.microsoft.com/office/drawing/2014/main" id="{91DD1B0A-D474-457E-8CBD-293C7D37798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35829"/>
              <a:ext cx="306140" cy="586"/>
            </a:xfrm>
            <a:prstGeom prst="line">
              <a:avLst/>
            </a:prstGeom>
            <a:ln w="19050">
              <a:solidFill>
                <a:srgbClr val="3440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5086E5A2-004F-4813-991D-4EFFEF094412}"/>
              </a:ext>
            </a:extLst>
          </p:cNvPr>
          <p:cNvGrpSpPr/>
          <p:nvPr/>
        </p:nvGrpSpPr>
        <p:grpSpPr>
          <a:xfrm>
            <a:off x="0" y="5183788"/>
            <a:ext cx="787341" cy="480888"/>
            <a:chOff x="0" y="1607468"/>
            <a:chExt cx="787341" cy="480888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1169B692-CF56-4072-BB1A-D93A391DB2D0}"/>
                </a:ext>
              </a:extLst>
            </p:cNvPr>
            <p:cNvGrpSpPr/>
            <p:nvPr/>
          </p:nvGrpSpPr>
          <p:grpSpPr>
            <a:xfrm>
              <a:off x="221337" y="1607468"/>
              <a:ext cx="566004" cy="480888"/>
              <a:chOff x="253184" y="1763716"/>
              <a:chExt cx="1010561" cy="858592"/>
            </a:xfrm>
          </p:grpSpPr>
          <p:sp>
            <p:nvSpPr>
              <p:cNvPr id="48" name="Ellipse 27">
                <a:extLst>
                  <a:ext uri="{FF2B5EF4-FFF2-40B4-BE49-F238E27FC236}">
                    <a16:creationId xmlns:a16="http://schemas.microsoft.com/office/drawing/2014/main" id="{E3C2707F-E1DD-42AC-9D99-68F6A25E2C7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3184" y="1763716"/>
                <a:ext cx="858592" cy="858592"/>
              </a:xfrm>
              <a:prstGeom prst="ellipse">
                <a:avLst/>
              </a:prstGeom>
              <a:solidFill>
                <a:srgbClr val="E0E5E9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ED1A3B"/>
                  </a:buClr>
                  <a:buSzPct val="80000"/>
                  <a:buFontTx/>
                  <a:buNone/>
                  <a:tabLst/>
                  <a:defRPr/>
                </a:pPr>
                <a:endParaRPr kumimoji="0" lang="de-AT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Bogen 48">
                <a:extLst>
                  <a:ext uri="{FF2B5EF4-FFF2-40B4-BE49-F238E27FC236}">
                    <a16:creationId xmlns:a16="http://schemas.microsoft.com/office/drawing/2014/main" id="{62F62F20-885A-4083-BBAB-0EE99129F79F}"/>
                  </a:ext>
                </a:extLst>
              </p:cNvPr>
              <p:cNvSpPr/>
              <p:nvPr/>
            </p:nvSpPr>
            <p:spPr>
              <a:xfrm>
                <a:off x="406063" y="1763716"/>
                <a:ext cx="857682" cy="857682"/>
              </a:xfrm>
              <a:prstGeom prst="arc">
                <a:avLst>
                  <a:gd name="adj1" fmla="val 3099742"/>
                  <a:gd name="adj2" fmla="val 18885834"/>
                </a:avLst>
              </a:prstGeom>
              <a:ln w="19050">
                <a:solidFill>
                  <a:srgbClr val="4040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6624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</p:grpSp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A4A97551-C6A9-4617-9942-28A41E3236E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835829"/>
              <a:ext cx="306140" cy="586"/>
            </a:xfrm>
            <a:prstGeom prst="line">
              <a:avLst/>
            </a:prstGeom>
            <a:ln w="19050">
              <a:solidFill>
                <a:srgbClr val="34404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65CA8A6B-E2BE-44DA-927F-CAFB59F16898}"/>
              </a:ext>
            </a:extLst>
          </p:cNvPr>
          <p:cNvSpPr txBox="1">
            <a:spLocks/>
          </p:cNvSpPr>
          <p:nvPr/>
        </p:nvSpPr>
        <p:spPr>
          <a:xfrm>
            <a:off x="398856" y="1657273"/>
            <a:ext cx="2880000" cy="360000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Cybersicherheitsmaßnahmen</a:t>
            </a:r>
            <a:endParaRPr kumimoji="0" lang="de-AT" sz="19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3451D484-F2A0-4CED-BCC8-10B44A7C2933}"/>
              </a:ext>
            </a:extLst>
          </p:cNvPr>
          <p:cNvSpPr txBox="1">
            <a:spLocks/>
          </p:cNvSpPr>
          <p:nvPr/>
        </p:nvSpPr>
        <p:spPr>
          <a:xfrm>
            <a:off x="398856" y="4046460"/>
            <a:ext cx="2880000" cy="360000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defPPr>
              <a:defRPr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</a:defRPr>
            </a:lvl1pPr>
            <a:lvl2pPr marL="488950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sz="14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</a:defRPr>
            </a:lvl2pPr>
            <a:lvl3pPr marL="738188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sz="1200" b="0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</a:defRPr>
            </a:lvl3pPr>
            <a:lvl4pPr marL="992188" indent="-2508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>
                <a:latin typeface="Trebuchet MS" panose="020B0603020202020204" pitchFamily="34" charset="0"/>
                <a:cs typeface="Arial" pitchFamily="34" charset="0"/>
              </a:defRPr>
            </a:lvl4pPr>
            <a:lvl5pPr marL="1227138" indent="-2413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>
                <a:latin typeface="Trebuchet MS" panose="020B0603020202020204" pitchFamily="34" charset="0"/>
                <a:cs typeface="Arial" pitchFamily="34" charset="0"/>
              </a:defRPr>
            </a:lvl5pPr>
            <a:lvl6pPr marL="288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baseline="0">
                <a:latin typeface="Trebuchet MS" panose="020B0603020202020204" pitchFamily="34" charset="0"/>
                <a:cs typeface="Arial" pitchFamily="34" charset="0"/>
              </a:defRPr>
            </a:lvl6pPr>
            <a:lvl7pPr marL="432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>
                <a:latin typeface="Trebuchet MS" panose="020B0603020202020204" pitchFamily="34" charset="0"/>
                <a:cs typeface="Arial" pitchFamily="34" charset="0"/>
              </a:defRPr>
            </a:lvl7pPr>
            <a:lvl8pPr marL="576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>
                <a:latin typeface="Trebuchet MS" panose="020B0603020202020204" pitchFamily="34" charset="0"/>
                <a:cs typeface="Arial" pitchFamily="34" charset="0"/>
              </a:defRPr>
            </a:lvl8pPr>
            <a:lvl9pPr marL="720000" indent="-144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baseline="0">
                <a:latin typeface="Trebuchet MS" panose="020B0603020202020204" pitchFamily="34" charset="0"/>
                <a:cs typeface="Arial" pitchFamily="34" charset="0"/>
              </a:defRPr>
            </a:lvl9pPr>
          </a:lstStyle>
          <a:p>
            <a:r>
              <a:rPr lang="de-DE" sz="1600" dirty="0">
                <a:solidFill>
                  <a:srgbClr val="404040"/>
                </a:solidFill>
                <a:latin typeface="Trebuchet MS"/>
              </a:rPr>
              <a:t>Berichtspflichten</a:t>
            </a:r>
            <a:endParaRPr lang="de-AT" dirty="0">
              <a:sym typeface="Arial"/>
            </a:endParaRP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A1E57AA7-CA55-4E64-B39A-E753294029BA}"/>
              </a:ext>
            </a:extLst>
          </p:cNvPr>
          <p:cNvSpPr txBox="1">
            <a:spLocks/>
          </p:cNvSpPr>
          <p:nvPr/>
        </p:nvSpPr>
        <p:spPr>
          <a:xfrm>
            <a:off x="398856" y="5233594"/>
            <a:ext cx="2880000" cy="360000"/>
          </a:xfrm>
          <a:prstGeom prst="rect">
            <a:avLst/>
          </a:prstGeom>
        </p:spPr>
        <p:txBody>
          <a:bodyPr vert="horz" lIns="0" tIns="72000" rIns="0" bIns="7200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indent="0" defTabSz="966246">
              <a:spcAft>
                <a:spcPts val="1800"/>
              </a:spcAft>
              <a:buClrTx/>
              <a:buSzTx/>
              <a:buNone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Sanktion &amp; </a:t>
            </a:r>
            <a:r>
              <a:rPr lang="de-DE" sz="1600" b="1" dirty="0">
                <a:solidFill>
                  <a:srgbClr val="404040"/>
                </a:solidFill>
                <a:latin typeface="Trebuchet MS"/>
              </a:rPr>
              <a:t>H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aftung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2" name="Textplatzhalter 6">
            <a:extLst>
              <a:ext uri="{FF2B5EF4-FFF2-40B4-BE49-F238E27FC236}">
                <a16:creationId xmlns:a16="http://schemas.microsoft.com/office/drawing/2014/main" id="{059A1D1A-0C47-B11F-25DC-404EACA9B70C}"/>
              </a:ext>
            </a:extLst>
          </p:cNvPr>
          <p:cNvSpPr txBox="1">
            <a:spLocks/>
          </p:cNvSpPr>
          <p:nvPr/>
        </p:nvSpPr>
        <p:spPr>
          <a:xfrm>
            <a:off x="787341" y="2067077"/>
            <a:ext cx="9504420" cy="17135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Verpflichtung, Maßnahmen zum Management von Cybersicherheitsrisiken zu ergreifen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Überprüfung der</a:t>
            </a: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 Durchführung dieser Maßnahmen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Sicherstellung d. Sicherheit innerhalb der Lieferkette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Sicherstellung d. Sicherheit bei der Beschaffung, Entwicklung und Wartung von Netzen und Informationssystemen, einschließlich der Behandlung und Offenlegung von Schwachstellen.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Strategien und Verfahren zur Bewertung der Wirksamkeit von Maßnahmen des Cybersicherheitsrisikomanagements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5F2E943-B5EF-C5BF-927C-55FD2BF25D51}"/>
              </a:ext>
            </a:extLst>
          </p:cNvPr>
          <p:cNvSpPr txBox="1">
            <a:spLocks/>
          </p:cNvSpPr>
          <p:nvPr/>
        </p:nvSpPr>
        <p:spPr>
          <a:xfrm>
            <a:off x="787341" y="4456265"/>
            <a:ext cx="9504420" cy="125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Wesentliche und wichtige Einrichtungen haben unverzüglich innerhalb 72 Stunden jeden Vorfall, der erhebliche Auswirkungen auf die Erbringung ihrer Dienstleistungen hat, zu melden! 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32C198D3-B883-2D05-6775-538F1FEE2521}"/>
              </a:ext>
            </a:extLst>
          </p:cNvPr>
          <p:cNvSpPr txBox="1">
            <a:spLocks/>
          </p:cNvSpPr>
          <p:nvPr/>
        </p:nvSpPr>
        <p:spPr>
          <a:xfrm>
            <a:off x="702225" y="5713972"/>
            <a:ext cx="9504420" cy="125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Bei Verstößen betreffend Managementmaßnahmen von Cybersicherheitsrisiken oder Berichtspflichten </a:t>
            </a:r>
          </a:p>
          <a:p>
            <a:pPr marL="522700" lvl="1" indent="-285750"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Verstöße </a:t>
            </a:r>
            <a:r>
              <a:rPr lang="de-AT" b="1" dirty="0">
                <a:solidFill>
                  <a:srgbClr val="404040"/>
                </a:solidFill>
                <a:latin typeface="Trebuchet MS"/>
              </a:rPr>
              <a:t>wesentlicher Einrichtungen </a:t>
            </a:r>
            <a:r>
              <a:rPr lang="de-AT" dirty="0">
                <a:solidFill>
                  <a:srgbClr val="404040"/>
                </a:solidFill>
                <a:latin typeface="Trebuchet MS"/>
              </a:rPr>
              <a:t>werden mit Geldbußen </a:t>
            </a:r>
            <a:r>
              <a:rPr lang="de-AT" dirty="0" err="1">
                <a:solidFill>
                  <a:srgbClr val="404040"/>
                </a:solidFill>
                <a:latin typeface="Trebuchet MS"/>
              </a:rPr>
              <a:t>i.H.v</a:t>
            </a:r>
            <a:r>
              <a:rPr lang="de-AT" dirty="0">
                <a:solidFill>
                  <a:srgbClr val="404040"/>
                </a:solidFill>
                <a:latin typeface="Trebuchet MS"/>
              </a:rPr>
              <a:t>. mindestens </a:t>
            </a:r>
            <a:r>
              <a:rPr lang="de-AT" b="1" dirty="0">
                <a:solidFill>
                  <a:srgbClr val="404040"/>
                </a:solidFill>
                <a:latin typeface="Trebuchet MS"/>
              </a:rPr>
              <a:t>10.000.000 EUR oder 2 % des gesamten weltweiten Jahresumsatzes</a:t>
            </a:r>
            <a:r>
              <a:rPr lang="de-AT" dirty="0">
                <a:solidFill>
                  <a:srgbClr val="404040"/>
                </a:solidFill>
                <a:latin typeface="Trebuchet MS"/>
              </a:rPr>
              <a:t> sanktioniert, je nachdem welcher Betrag höher ist. </a:t>
            </a:r>
          </a:p>
          <a:p>
            <a:pPr marL="522700" lvl="1" indent="-285750"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Verstöße </a:t>
            </a:r>
            <a:r>
              <a:rPr lang="de-AT" b="1" dirty="0">
                <a:solidFill>
                  <a:srgbClr val="404040"/>
                </a:solidFill>
                <a:latin typeface="Trebuchet MS"/>
              </a:rPr>
              <a:t>wichtiger Einrichtungen </a:t>
            </a:r>
            <a:r>
              <a:rPr lang="de-AT" dirty="0">
                <a:solidFill>
                  <a:srgbClr val="404040"/>
                </a:solidFill>
                <a:latin typeface="Trebuchet MS"/>
              </a:rPr>
              <a:t>werden mit Geldbußen </a:t>
            </a:r>
            <a:r>
              <a:rPr lang="de-AT" dirty="0" err="1">
                <a:solidFill>
                  <a:srgbClr val="404040"/>
                </a:solidFill>
                <a:latin typeface="Trebuchet MS"/>
              </a:rPr>
              <a:t>i.H.v</a:t>
            </a:r>
            <a:r>
              <a:rPr lang="de-AT" dirty="0">
                <a:solidFill>
                  <a:srgbClr val="404040"/>
                </a:solidFill>
                <a:latin typeface="Trebuchet MS"/>
              </a:rPr>
              <a:t>. mindestens </a:t>
            </a:r>
            <a:r>
              <a:rPr lang="de-AT" b="1" dirty="0">
                <a:solidFill>
                  <a:srgbClr val="404040"/>
                </a:solidFill>
                <a:latin typeface="Trebuchet MS"/>
              </a:rPr>
              <a:t>7.000.000 EUR oder 1,4% des gesamten weltweiten Jahresumsatzes</a:t>
            </a:r>
            <a:r>
              <a:rPr lang="de-AT" dirty="0">
                <a:solidFill>
                  <a:srgbClr val="404040"/>
                </a:solidFill>
                <a:latin typeface="Trebuchet MS"/>
              </a:rPr>
              <a:t>, je nachdem welcher Betrag höher ist.</a:t>
            </a:r>
          </a:p>
        </p:txBody>
      </p:sp>
    </p:spTree>
    <p:extLst>
      <p:ext uri="{BB962C8B-B14F-4D97-AF65-F5344CB8AC3E}">
        <p14:creationId xmlns:p14="http://schemas.microsoft.com/office/powerpoint/2010/main" val="14487745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36998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686A92B-2F16-4FD8-90B1-E07EB91B2E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AT" sz="7200" dirty="0" err="1"/>
              <a:t>Cyber</a:t>
            </a:r>
            <a:r>
              <a:rPr lang="de-AT" sz="7200" dirty="0"/>
              <a:t> Crim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719E8F2-1AF7-4AAC-A1A9-A3C8D490D6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4610407F-1CF6-4AD1-95B7-0BAD4A2625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IT-Kriminalität als weltweit hochprofitables Geschäft</a:t>
            </a:r>
          </a:p>
        </p:txBody>
      </p:sp>
    </p:spTree>
    <p:extLst>
      <p:ext uri="{BB962C8B-B14F-4D97-AF65-F5344CB8AC3E}">
        <p14:creationId xmlns:p14="http://schemas.microsoft.com/office/powerpoint/2010/main" val="24199754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59FD4F07-E3D7-4343-9D2C-B610EC480359}"/>
              </a:ext>
            </a:extLst>
          </p:cNvPr>
          <p:cNvSpPr/>
          <p:nvPr/>
        </p:nvSpPr>
        <p:spPr>
          <a:xfrm>
            <a:off x="0" y="1404938"/>
            <a:ext cx="10693400" cy="5256212"/>
          </a:xfrm>
          <a:prstGeom prst="rect">
            <a:avLst/>
          </a:prstGeom>
          <a:solidFill>
            <a:srgbClr val="E0E5E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9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AB87A88D-6CE8-4448-AF8A-64CEFADAE20C}"/>
              </a:ext>
            </a:extLst>
          </p:cNvPr>
          <p:cNvGrpSpPr/>
          <p:nvPr/>
        </p:nvGrpSpPr>
        <p:grpSpPr>
          <a:xfrm>
            <a:off x="-1" y="6454220"/>
            <a:ext cx="4230142" cy="389266"/>
            <a:chOff x="-1" y="6468734"/>
            <a:chExt cx="4230142" cy="389266"/>
          </a:xfrm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01360A78-B0FC-4B24-B58C-2366ED05378B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3840875" y="6468734"/>
              <a:ext cx="389266" cy="389266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623A2070-101E-44D8-9777-712312F8209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1" y="6663367"/>
              <a:ext cx="4035509" cy="0"/>
            </a:xfrm>
            <a:prstGeom prst="line">
              <a:avLst/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D55FDEA-844E-45EB-A2B0-9FD0692CE6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IT-Security / Cyber-Security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995AA63-5C16-4286-B35E-180CF08DB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Wie alles Begann - 1971</a:t>
            </a:r>
          </a:p>
        </p:txBody>
      </p:sp>
      <p:pic>
        <p:nvPicPr>
          <p:cNvPr id="29698" name="Picture 2">
            <a:extLst>
              <a:ext uri="{FF2B5EF4-FFF2-40B4-BE49-F238E27FC236}">
                <a16:creationId xmlns:a16="http://schemas.microsoft.com/office/drawing/2014/main" id="{C8B9439B-5290-4442-A719-E714469976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25"/>
          <a:stretch/>
        </p:blipFill>
        <p:spPr bwMode="auto">
          <a:xfrm flipH="1">
            <a:off x="396875" y="1952562"/>
            <a:ext cx="6451082" cy="403316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D3A5314-B630-4301-B15D-9D7A32CB3AAD}"/>
              </a:ext>
            </a:extLst>
          </p:cNvPr>
          <p:cNvGrpSpPr/>
          <p:nvPr/>
        </p:nvGrpSpPr>
        <p:grpSpPr>
          <a:xfrm>
            <a:off x="4626620" y="2268463"/>
            <a:ext cx="5544616" cy="3430124"/>
            <a:chOff x="4626620" y="2268463"/>
            <a:chExt cx="5544616" cy="3430124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CE1AD701-4E62-46CF-8C58-1BF1E8E14F0A}"/>
                </a:ext>
              </a:extLst>
            </p:cNvPr>
            <p:cNvGrpSpPr/>
            <p:nvPr/>
          </p:nvGrpSpPr>
          <p:grpSpPr>
            <a:xfrm>
              <a:off x="4626620" y="2268463"/>
              <a:ext cx="5544616" cy="3430124"/>
              <a:chOff x="4626620" y="2268463"/>
              <a:chExt cx="5544616" cy="3430124"/>
            </a:xfrm>
          </p:grpSpPr>
          <p:pic>
            <p:nvPicPr>
              <p:cNvPr id="20484" name="Picture 4" descr="(Modern Replica) I'M THE CREEPER : CATCH ME IF YOU CAN">
                <a:extLst>
                  <a:ext uri="{FF2B5EF4-FFF2-40B4-BE49-F238E27FC236}">
                    <a16:creationId xmlns:a16="http://schemas.microsoft.com/office/drawing/2014/main" id="{AC526441-4970-414A-846A-5CC0E7857C4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26620" y="2268463"/>
                <a:ext cx="5368340" cy="3187452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32AE4C6A-0C11-4161-938F-7EC80B52F6D5}"/>
                  </a:ext>
                </a:extLst>
              </p:cNvPr>
              <p:cNvSpPr txBox="1"/>
              <p:nvPr/>
            </p:nvSpPr>
            <p:spPr>
              <a:xfrm>
                <a:off x="8227020" y="5483143"/>
                <a:ext cx="1944216" cy="21544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AT" sz="800" dirty="0"/>
                  <a:t>https://corewar.co.uk/creeper.htm</a:t>
                </a:r>
              </a:p>
            </p:txBody>
          </p:sp>
        </p:grp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61A2050-1E69-4CBE-A4AD-A4928AF0AC39}"/>
                </a:ext>
              </a:extLst>
            </p:cNvPr>
            <p:cNvSpPr/>
            <p:nvPr/>
          </p:nvSpPr>
          <p:spPr>
            <a:xfrm>
              <a:off x="4842644" y="4716735"/>
              <a:ext cx="4392488" cy="483475"/>
            </a:xfrm>
            <a:prstGeom prst="rect">
              <a:avLst/>
            </a:prstGeom>
            <a:noFill/>
            <a:ln w="38100" cap="sq">
              <a:solidFill>
                <a:srgbClr val="ED1A3B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  <a:buClr>
                  <a:srgbClr val="ED1A3B"/>
                </a:buClr>
                <a:buSzPct val="80000"/>
              </a:pPr>
              <a:endParaRPr lang="de-AT" sz="1400" dirty="0" err="1">
                <a:solidFill>
                  <a:schemeClr val="tx1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18" name="Textfeld 17">
            <a:extLst>
              <a:ext uri="{FF2B5EF4-FFF2-40B4-BE49-F238E27FC236}">
                <a16:creationId xmlns:a16="http://schemas.microsoft.com/office/drawing/2014/main" id="{29FF3D0C-5A4F-4DAE-9844-82A6721FB74E}"/>
              </a:ext>
            </a:extLst>
          </p:cNvPr>
          <p:cNvSpPr txBox="1"/>
          <p:nvPr/>
        </p:nvSpPr>
        <p:spPr>
          <a:xfrm>
            <a:off x="370985" y="6019807"/>
            <a:ext cx="627185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AT" sz="800" dirty="0">
                <a:solidFill>
                  <a:srgbClr val="000000"/>
                </a:solidFill>
              </a:rPr>
              <a:t>https://www.livingcomputers.org/Computer-Collection/Vintage-Computers/Mainframes/DEC-PDP-10-KI-10-(DECsystem-10).aspx</a:t>
            </a:r>
          </a:p>
        </p:txBody>
      </p:sp>
    </p:spTree>
    <p:extLst>
      <p:ext uri="{BB962C8B-B14F-4D97-AF65-F5344CB8AC3E}">
        <p14:creationId xmlns:p14="http://schemas.microsoft.com/office/powerpoint/2010/main" val="22320880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>
            <a:extLst>
              <a:ext uri="{FF2B5EF4-FFF2-40B4-BE49-F238E27FC236}">
                <a16:creationId xmlns:a16="http://schemas.microsoft.com/office/drawing/2014/main" id="{1D164F6D-5775-4D2A-ABA7-512AF3EC27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634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37" name="Objekt 36" hidden="1">
                        <a:extLst>
                          <a:ext uri="{FF2B5EF4-FFF2-40B4-BE49-F238E27FC236}">
                            <a16:creationId xmlns:a16="http://schemas.microsoft.com/office/drawing/2014/main" id="{1D164F6D-5775-4D2A-ABA7-512AF3EC2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70F95491-D554-4583-9B1F-6DF1FC8BC782}"/>
              </a:ext>
            </a:extLst>
          </p:cNvPr>
          <p:cNvCxnSpPr>
            <a:cxnSpLocks/>
          </p:cNvCxnSpPr>
          <p:nvPr/>
        </p:nvCxnSpPr>
        <p:spPr>
          <a:xfrm>
            <a:off x="398856" y="2161346"/>
            <a:ext cx="9858327" cy="0"/>
          </a:xfrm>
          <a:prstGeom prst="lin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>
            <a:extLst>
              <a:ext uri="{FF2B5EF4-FFF2-40B4-BE49-F238E27FC236}">
                <a16:creationId xmlns:a16="http://schemas.microsoft.com/office/drawing/2014/main" id="{14EA4F33-2A65-489D-8874-529D4B39E60E}"/>
              </a:ext>
            </a:extLst>
          </p:cNvPr>
          <p:cNvSpPr/>
          <p:nvPr/>
        </p:nvSpPr>
        <p:spPr>
          <a:xfrm>
            <a:off x="8263867" y="1653372"/>
            <a:ext cx="1008112" cy="1008112"/>
          </a:xfrm>
          <a:prstGeom prst="ellipse">
            <a:avLst/>
          </a:prstGeom>
          <a:solidFill>
            <a:schemeClr val="accent6"/>
          </a:solidFill>
          <a:ln w="1905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0CEABF18-B195-4C6A-B937-331326B64E4B}"/>
              </a:ext>
            </a:extLst>
          </p:cNvPr>
          <p:cNvSpPr/>
          <p:nvPr/>
        </p:nvSpPr>
        <p:spPr>
          <a:xfrm>
            <a:off x="1428969" y="1653372"/>
            <a:ext cx="1008112" cy="1008112"/>
          </a:xfrm>
          <a:prstGeom prst="ellipse">
            <a:avLst/>
          </a:prstGeom>
          <a:solidFill>
            <a:schemeClr val="accent6"/>
          </a:solidFill>
          <a:ln w="1905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B4E5C0FA-C0F7-4A1E-8A08-5F71C21E01BB}"/>
              </a:ext>
            </a:extLst>
          </p:cNvPr>
          <p:cNvSpPr/>
          <p:nvPr/>
        </p:nvSpPr>
        <p:spPr>
          <a:xfrm>
            <a:off x="4840766" y="1653372"/>
            <a:ext cx="1008112" cy="1008112"/>
          </a:xfrm>
          <a:prstGeom prst="ellipse">
            <a:avLst/>
          </a:prstGeom>
          <a:solidFill>
            <a:schemeClr val="accent6"/>
          </a:solidFill>
          <a:ln w="19050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0" name="Google Shape;1029;p25">
            <a:extLst>
              <a:ext uri="{FF2B5EF4-FFF2-40B4-BE49-F238E27FC236}">
                <a16:creationId xmlns:a16="http://schemas.microsoft.com/office/drawing/2014/main" id="{32333833-2474-4B60-AA39-3A4A6A866371}"/>
              </a:ext>
            </a:extLst>
          </p:cNvPr>
          <p:cNvSpPr/>
          <p:nvPr/>
        </p:nvSpPr>
        <p:spPr>
          <a:xfrm>
            <a:off x="1537025" y="1765346"/>
            <a:ext cx="792000" cy="792000"/>
          </a:xfrm>
          <a:custGeom>
            <a:avLst/>
            <a:gdLst/>
            <a:ahLst/>
            <a:cxnLst/>
            <a:rect l="l" t="t" r="r" b="b"/>
            <a:pathLst>
              <a:path w="5961" h="5961" extrusionOk="0">
                <a:moveTo>
                  <a:pt x="2981" y="0"/>
                </a:moveTo>
                <a:cubicBezTo>
                  <a:pt x="1335" y="0"/>
                  <a:pt x="1" y="1334"/>
                  <a:pt x="1" y="2980"/>
                </a:cubicBezTo>
                <a:cubicBezTo>
                  <a:pt x="1" y="4626"/>
                  <a:pt x="1335" y="5961"/>
                  <a:pt x="2981" y="5961"/>
                </a:cubicBezTo>
                <a:cubicBezTo>
                  <a:pt x="4627" y="5961"/>
                  <a:pt x="5961" y="4626"/>
                  <a:pt x="5961" y="2980"/>
                </a:cubicBezTo>
                <a:cubicBezTo>
                  <a:pt x="5961" y="1334"/>
                  <a:pt x="4627" y="0"/>
                  <a:pt x="2981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bg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9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2" name="Google Shape;1029;p25">
            <a:extLst>
              <a:ext uri="{FF2B5EF4-FFF2-40B4-BE49-F238E27FC236}">
                <a16:creationId xmlns:a16="http://schemas.microsoft.com/office/drawing/2014/main" id="{CD0A8FE2-DD93-4729-BBA8-FF89DDC4C020}"/>
              </a:ext>
            </a:extLst>
          </p:cNvPr>
          <p:cNvSpPr/>
          <p:nvPr/>
        </p:nvSpPr>
        <p:spPr>
          <a:xfrm>
            <a:off x="4954618" y="1765346"/>
            <a:ext cx="792000" cy="792000"/>
          </a:xfrm>
          <a:custGeom>
            <a:avLst/>
            <a:gdLst/>
            <a:ahLst/>
            <a:cxnLst/>
            <a:rect l="l" t="t" r="r" b="b"/>
            <a:pathLst>
              <a:path w="5961" h="5961" extrusionOk="0">
                <a:moveTo>
                  <a:pt x="2981" y="0"/>
                </a:moveTo>
                <a:cubicBezTo>
                  <a:pt x="1335" y="0"/>
                  <a:pt x="1" y="1334"/>
                  <a:pt x="1" y="2980"/>
                </a:cubicBezTo>
                <a:cubicBezTo>
                  <a:pt x="1" y="4626"/>
                  <a:pt x="1335" y="5961"/>
                  <a:pt x="2981" y="5961"/>
                </a:cubicBezTo>
                <a:cubicBezTo>
                  <a:pt x="4627" y="5961"/>
                  <a:pt x="5961" y="4626"/>
                  <a:pt x="5961" y="2980"/>
                </a:cubicBezTo>
                <a:cubicBezTo>
                  <a:pt x="5961" y="1334"/>
                  <a:pt x="4627" y="0"/>
                  <a:pt x="2981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bg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9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4" name="Google Shape;1029;p25">
            <a:extLst>
              <a:ext uri="{FF2B5EF4-FFF2-40B4-BE49-F238E27FC236}">
                <a16:creationId xmlns:a16="http://schemas.microsoft.com/office/drawing/2014/main" id="{EEDA3E8F-ADDA-4DB7-9329-5613E03366B5}"/>
              </a:ext>
            </a:extLst>
          </p:cNvPr>
          <p:cNvSpPr/>
          <p:nvPr/>
        </p:nvSpPr>
        <p:spPr>
          <a:xfrm>
            <a:off x="8375841" y="1765346"/>
            <a:ext cx="792000" cy="792000"/>
          </a:xfrm>
          <a:custGeom>
            <a:avLst/>
            <a:gdLst/>
            <a:ahLst/>
            <a:cxnLst/>
            <a:rect l="l" t="t" r="r" b="b"/>
            <a:pathLst>
              <a:path w="5961" h="5961" extrusionOk="0">
                <a:moveTo>
                  <a:pt x="2981" y="0"/>
                </a:moveTo>
                <a:cubicBezTo>
                  <a:pt x="1335" y="0"/>
                  <a:pt x="1" y="1334"/>
                  <a:pt x="1" y="2980"/>
                </a:cubicBezTo>
                <a:cubicBezTo>
                  <a:pt x="1" y="4626"/>
                  <a:pt x="1335" y="5961"/>
                  <a:pt x="2981" y="5961"/>
                </a:cubicBezTo>
                <a:cubicBezTo>
                  <a:pt x="4627" y="5961"/>
                  <a:pt x="5961" y="4626"/>
                  <a:pt x="5961" y="2980"/>
                </a:cubicBezTo>
                <a:cubicBezTo>
                  <a:pt x="5961" y="1334"/>
                  <a:pt x="4627" y="0"/>
                  <a:pt x="2981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bg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900" b="0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493915E3-11FF-4204-9F5E-7BB36A00150E}"/>
              </a:ext>
            </a:extLst>
          </p:cNvPr>
          <p:cNvSpPr txBox="1">
            <a:spLocks/>
          </p:cNvSpPr>
          <p:nvPr/>
        </p:nvSpPr>
        <p:spPr>
          <a:xfrm>
            <a:off x="406010" y="2844527"/>
            <a:ext cx="3054030" cy="1140570"/>
          </a:xfrm>
          <a:prstGeom prst="rect">
            <a:avLst/>
          </a:prstGeom>
          <a:solidFill>
            <a:srgbClr val="E0E5E9"/>
          </a:solidFill>
          <a:ln w="19050">
            <a:noFill/>
          </a:ln>
          <a:effectLst/>
        </p:spPr>
        <p:txBody>
          <a:bodyPr lIns="72000" rIns="36000" bIns="46800" anchor="ctr" anchorCtr="0"/>
          <a:lstStyle>
            <a:lvl1pPr marL="0" marR="0" indent="0" algn="ctr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None/>
              <a:tabLst/>
              <a:defRPr kumimoji="0" lang="de-DE" sz="14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Symbol" pitchFamily="18" charset="2"/>
              <a:buChar char="-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Symbol" pitchFamily="18" charset="2"/>
              <a:buChar char="-"/>
              <a:defRPr sz="16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Symbol" pitchFamily="18" charset="2"/>
              <a:buChar char="-"/>
              <a:tabLst>
                <a:tab pos="759913" algn="l"/>
              </a:tabLst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AT" b="1" dirty="0">
                <a:solidFill>
                  <a:srgbClr val="ED1A3B"/>
                </a:solidFill>
                <a:latin typeface="Trebuchet MS"/>
              </a:rPr>
              <a:t>REPUTATIONSVERLUST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A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Website Defa</a:t>
            </a:r>
            <a:r>
              <a:rPr lang="de-AT" sz="1200" dirty="0" err="1">
                <a:solidFill>
                  <a:srgbClr val="000000"/>
                </a:solidFill>
                <a:latin typeface="Trebuchet MS"/>
              </a:rPr>
              <a:t>cement</a:t>
            </a:r>
            <a:endParaRPr lang="de-AT" sz="1200" dirty="0">
              <a:solidFill>
                <a:srgbClr val="000000"/>
              </a:solidFill>
              <a:latin typeface="Trebuchet MS"/>
            </a:endParaRP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A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Fake News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AT" sz="1200" dirty="0">
                <a:solidFill>
                  <a:srgbClr val="000000"/>
                </a:solidFill>
                <a:latin typeface="Trebuchet MS"/>
              </a:rPr>
              <a:t>Datenlecks</a:t>
            </a:r>
            <a:endParaRPr kumimoji="0" lang="de-A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32" name="Textplatzhalter 17">
            <a:extLst>
              <a:ext uri="{FF2B5EF4-FFF2-40B4-BE49-F238E27FC236}">
                <a16:creationId xmlns:a16="http://schemas.microsoft.com/office/drawing/2014/main" id="{82CB51C5-0DB4-4154-A865-88E578F02585}"/>
              </a:ext>
            </a:extLst>
          </p:cNvPr>
          <p:cNvSpPr txBox="1">
            <a:spLocks/>
          </p:cNvSpPr>
          <p:nvPr/>
        </p:nvSpPr>
        <p:spPr>
          <a:xfrm>
            <a:off x="3825418" y="2844527"/>
            <a:ext cx="3054030" cy="1140570"/>
          </a:xfrm>
          <a:prstGeom prst="rect">
            <a:avLst/>
          </a:prstGeom>
          <a:solidFill>
            <a:srgbClr val="E0E5E9"/>
          </a:solidFill>
          <a:ln w="19050">
            <a:noFill/>
          </a:ln>
          <a:effectLst/>
        </p:spPr>
        <p:txBody>
          <a:bodyPr vert="horz" lIns="72000" tIns="0" rIns="36000" bIns="46800" rtlCol="0" anchor="ctr" anchorCtr="0">
            <a:normAutofit/>
          </a:bodyPr>
          <a:lstStyle>
            <a:lvl1pPr marL="285750" marR="0" indent="-285750" algn="ctr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kumimoji="0" lang="de-AT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 3" panose="05040102010807070707" pitchFamily="18" charset="2"/>
              <a:buChar char="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b="1" dirty="0">
                <a:solidFill>
                  <a:srgbClr val="ED1A3B"/>
                </a:solidFill>
                <a:latin typeface="Trebuchet MS"/>
              </a:rPr>
              <a:t>DATENDIEBSTAHL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Hacking von Webseiten und IT-Netzwerken über Schwachstellen</a:t>
            </a:r>
          </a:p>
        </p:txBody>
      </p:sp>
      <p:sp>
        <p:nvSpPr>
          <p:cNvPr id="33" name="Textplatzhalter 17">
            <a:extLst>
              <a:ext uri="{FF2B5EF4-FFF2-40B4-BE49-F238E27FC236}">
                <a16:creationId xmlns:a16="http://schemas.microsoft.com/office/drawing/2014/main" id="{35DC04FC-62C4-4743-A7F0-BA0BF0D72149}"/>
              </a:ext>
            </a:extLst>
          </p:cNvPr>
          <p:cNvSpPr txBox="1">
            <a:spLocks/>
          </p:cNvSpPr>
          <p:nvPr/>
        </p:nvSpPr>
        <p:spPr>
          <a:xfrm>
            <a:off x="7244826" y="2844527"/>
            <a:ext cx="3054030" cy="1140570"/>
          </a:xfrm>
          <a:prstGeom prst="rect">
            <a:avLst/>
          </a:prstGeom>
          <a:solidFill>
            <a:srgbClr val="E0E5E9"/>
          </a:solidFill>
          <a:ln w="19050">
            <a:noFill/>
          </a:ln>
          <a:effectLst/>
        </p:spPr>
        <p:txBody>
          <a:bodyPr vert="horz" lIns="72000" tIns="0" rIns="36000" bIns="46800" rtlCol="0" anchor="ctr" anchorCtr="0">
            <a:normAutofit/>
          </a:bodyPr>
          <a:lstStyle>
            <a:lvl1pPr marL="285750" marR="0" indent="-285750" algn="ctr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kumimoji="0" lang="de-AT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 3" panose="05040102010807070707" pitchFamily="18" charset="2"/>
              <a:buChar char="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b="1" dirty="0">
                <a:solidFill>
                  <a:srgbClr val="ED1A3B"/>
                </a:solidFill>
                <a:latin typeface="Trebuchet MS"/>
              </a:rPr>
              <a:t>ERPRESSUNG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Denial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–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of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-Service Angriffe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sz="1200" dirty="0">
                <a:solidFill>
                  <a:srgbClr val="000000"/>
                </a:solidFill>
                <a:latin typeface="Trebuchet MS"/>
              </a:rPr>
              <a:t>Ransomware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38" name="Textplatzhalter 17">
            <a:extLst>
              <a:ext uri="{FF2B5EF4-FFF2-40B4-BE49-F238E27FC236}">
                <a16:creationId xmlns:a16="http://schemas.microsoft.com/office/drawing/2014/main" id="{F3D8379B-E8F0-4BB7-A685-AA1C5B2F68EE}"/>
              </a:ext>
            </a:extLst>
          </p:cNvPr>
          <p:cNvSpPr txBox="1">
            <a:spLocks/>
          </p:cNvSpPr>
          <p:nvPr/>
        </p:nvSpPr>
        <p:spPr>
          <a:xfrm>
            <a:off x="406010" y="4252860"/>
            <a:ext cx="3054030" cy="1140570"/>
          </a:xfrm>
          <a:prstGeom prst="rect">
            <a:avLst/>
          </a:prstGeom>
          <a:solidFill>
            <a:srgbClr val="E0E5E9"/>
          </a:solidFill>
          <a:ln w="19050">
            <a:noFill/>
          </a:ln>
          <a:effectLst/>
        </p:spPr>
        <p:txBody>
          <a:bodyPr lIns="72000" rIns="36000" bIns="46800" anchor="ctr" anchorCtr="0"/>
          <a:lstStyle>
            <a:lvl1pPr marL="0" marR="0" indent="0" algn="ctr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None/>
              <a:tabLst/>
              <a:defRPr kumimoji="0" lang="de-DE" sz="14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Symbol" pitchFamily="18" charset="2"/>
              <a:buChar char="-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Symbol" pitchFamily="18" charset="2"/>
              <a:buChar char="-"/>
              <a:defRPr sz="16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Symbol" pitchFamily="18" charset="2"/>
              <a:buChar char="-"/>
              <a:tabLst>
                <a:tab pos="759913" algn="l"/>
              </a:tabLst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AT" b="1" dirty="0">
                <a:solidFill>
                  <a:srgbClr val="ED1A3B"/>
                </a:solidFill>
                <a:latin typeface="Trebuchet MS"/>
              </a:rPr>
              <a:t>AUSNUTZUNG VON RESSOURCEN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A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Crypto-Mining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AT" sz="1200" dirty="0">
                <a:solidFill>
                  <a:srgbClr val="000000"/>
                </a:solidFill>
                <a:latin typeface="Trebuchet MS"/>
              </a:rPr>
              <a:t>Botnetze</a:t>
            </a:r>
            <a:endParaRPr kumimoji="0" lang="de-A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39" name="Textplatzhalter 17">
            <a:extLst>
              <a:ext uri="{FF2B5EF4-FFF2-40B4-BE49-F238E27FC236}">
                <a16:creationId xmlns:a16="http://schemas.microsoft.com/office/drawing/2014/main" id="{05663DF2-04D1-4A66-9B23-82FB39757CE2}"/>
              </a:ext>
            </a:extLst>
          </p:cNvPr>
          <p:cNvSpPr txBox="1">
            <a:spLocks/>
          </p:cNvSpPr>
          <p:nvPr/>
        </p:nvSpPr>
        <p:spPr>
          <a:xfrm>
            <a:off x="3825418" y="4265193"/>
            <a:ext cx="3054030" cy="1140570"/>
          </a:xfrm>
          <a:prstGeom prst="rect">
            <a:avLst/>
          </a:prstGeom>
          <a:solidFill>
            <a:srgbClr val="E0E5E9"/>
          </a:solidFill>
          <a:ln w="19050">
            <a:noFill/>
          </a:ln>
          <a:effectLst/>
        </p:spPr>
        <p:txBody>
          <a:bodyPr vert="horz" lIns="72000" tIns="0" rIns="36000" bIns="46800" rtlCol="0" anchor="ctr" anchorCtr="0">
            <a:normAutofit/>
          </a:bodyPr>
          <a:lstStyle>
            <a:lvl1pPr marL="285750" marR="0" indent="-285750" algn="ctr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kumimoji="0" lang="de-AT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 3" panose="05040102010807070707" pitchFamily="18" charset="2"/>
              <a:buChar char="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b="1" dirty="0">
                <a:solidFill>
                  <a:srgbClr val="ED1A3B"/>
                </a:solidFill>
                <a:latin typeface="Trebuchet MS"/>
              </a:rPr>
              <a:t>SPIONAGE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Social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 E</a:t>
            </a:r>
            <a:r>
              <a:rPr lang="de-DE" sz="1200" dirty="0" err="1">
                <a:solidFill>
                  <a:srgbClr val="000000"/>
                </a:solidFill>
                <a:latin typeface="Trebuchet MS"/>
              </a:rPr>
              <a:t>ngineering</a:t>
            </a:r>
            <a:endParaRPr lang="de-DE" sz="1200" dirty="0">
              <a:solidFill>
                <a:srgbClr val="000000"/>
              </a:solidFill>
              <a:latin typeface="Trebuchet MS"/>
            </a:endParaRP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sz="1200" dirty="0">
                <a:solidFill>
                  <a:srgbClr val="000000"/>
                </a:solidFill>
                <a:latin typeface="Trebuchet MS"/>
              </a:rPr>
              <a:t>P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hishing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40" name="Textplatzhalter 17">
            <a:extLst>
              <a:ext uri="{FF2B5EF4-FFF2-40B4-BE49-F238E27FC236}">
                <a16:creationId xmlns:a16="http://schemas.microsoft.com/office/drawing/2014/main" id="{5294DA76-EA4B-4A08-B1EB-D7243071D798}"/>
              </a:ext>
            </a:extLst>
          </p:cNvPr>
          <p:cNvSpPr txBox="1">
            <a:spLocks/>
          </p:cNvSpPr>
          <p:nvPr/>
        </p:nvSpPr>
        <p:spPr>
          <a:xfrm>
            <a:off x="7244826" y="4265193"/>
            <a:ext cx="3054030" cy="1140570"/>
          </a:xfrm>
          <a:prstGeom prst="rect">
            <a:avLst/>
          </a:prstGeom>
          <a:solidFill>
            <a:srgbClr val="E0E5E9"/>
          </a:solidFill>
          <a:ln w="19050">
            <a:noFill/>
          </a:ln>
          <a:effectLst/>
        </p:spPr>
        <p:txBody>
          <a:bodyPr vert="horz" lIns="72000" tIns="0" rIns="36000" bIns="46800" rtlCol="0" anchor="ctr" anchorCtr="0">
            <a:normAutofit/>
          </a:bodyPr>
          <a:lstStyle>
            <a:lvl1pPr marL="285750" marR="0" indent="-285750" algn="ctr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kumimoji="0" lang="de-AT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 3" panose="05040102010807070707" pitchFamily="18" charset="2"/>
              <a:buChar char="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b="1" dirty="0">
                <a:solidFill>
                  <a:srgbClr val="ED1A3B"/>
                </a:solidFill>
                <a:latin typeface="Trebuchet MS"/>
              </a:rPr>
              <a:t>BETRUG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CEO – Fraud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DE" sz="1200" dirty="0">
                <a:solidFill>
                  <a:srgbClr val="000000"/>
                </a:solidFill>
                <a:latin typeface="Trebuchet MS"/>
              </a:rPr>
              <a:t>Fake </a:t>
            </a:r>
            <a:r>
              <a:rPr lang="de-DE" sz="1200" dirty="0" err="1">
                <a:solidFill>
                  <a:srgbClr val="000000"/>
                </a:solidFill>
                <a:latin typeface="Trebuchet MS"/>
              </a:rPr>
              <a:t>President</a:t>
            </a:r>
            <a:r>
              <a:rPr lang="de-DE" sz="1200" dirty="0">
                <a:solidFill>
                  <a:srgbClr val="000000"/>
                </a:solidFill>
                <a:latin typeface="Trebuchet MS"/>
              </a:rPr>
              <a:t> Angriffe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42" name="Textplatzhalter 17">
            <a:extLst>
              <a:ext uri="{FF2B5EF4-FFF2-40B4-BE49-F238E27FC236}">
                <a16:creationId xmlns:a16="http://schemas.microsoft.com/office/drawing/2014/main" id="{4FD04B08-EA7F-401A-A1C9-46C25F581029}"/>
              </a:ext>
            </a:extLst>
          </p:cNvPr>
          <p:cNvSpPr txBox="1">
            <a:spLocks/>
          </p:cNvSpPr>
          <p:nvPr/>
        </p:nvSpPr>
        <p:spPr>
          <a:xfrm>
            <a:off x="3825418" y="5658402"/>
            <a:ext cx="3054030" cy="1140570"/>
          </a:xfrm>
          <a:prstGeom prst="rect">
            <a:avLst/>
          </a:prstGeom>
          <a:solidFill>
            <a:srgbClr val="E0E5E9"/>
          </a:solidFill>
          <a:ln w="19050">
            <a:noFill/>
          </a:ln>
          <a:effectLst/>
        </p:spPr>
        <p:txBody>
          <a:bodyPr vert="horz" lIns="72000" tIns="0" rIns="36000" bIns="46800" rtlCol="0" anchor="ctr" anchorCtr="0">
            <a:normAutofit/>
          </a:bodyPr>
          <a:lstStyle>
            <a:lvl1pPr marL="285750" marR="0" indent="-285750" algn="ctr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Arial" panose="020B0604020202020204" pitchFamily="34" charset="0"/>
              <a:buNone/>
              <a:tabLst/>
              <a:defRPr kumimoji="0" lang="de-AT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Wingdings 3" panose="05040102010807070707" pitchFamily="18" charset="2"/>
              <a:buChar char="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AT" b="1" dirty="0">
                <a:solidFill>
                  <a:srgbClr val="ED1A3B"/>
                </a:solidFill>
                <a:latin typeface="Trebuchet MS"/>
              </a:rPr>
              <a:t>SABOTAGE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AT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Lahmlegen des Unternehmens</a:t>
            </a:r>
          </a:p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r>
              <a:rPr lang="de-AT" sz="1200" dirty="0">
                <a:solidFill>
                  <a:srgbClr val="000000"/>
                </a:solidFill>
                <a:latin typeface="Trebuchet MS"/>
              </a:rPr>
              <a:t>Ransomware</a:t>
            </a:r>
            <a:endParaRPr kumimoji="0" lang="de-AT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2B5A30FC-15A9-444B-B51F-E4C4C4C6CB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yber Crime und seine </a:t>
            </a:r>
            <a:r>
              <a:rPr lang="en-US" dirty="0" err="1"/>
              <a:t>Auswirkun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1B6306-AA19-48AE-BE36-66D163AFE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Cyber</a:t>
            </a:r>
            <a:r>
              <a:rPr lang="de-AT" dirty="0"/>
              <a:t> Security Risiken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072F9220-6D86-465C-A24F-C6CE5F08FE8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368005" y="1757510"/>
            <a:ext cx="799836" cy="799836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B453B7A5-44DE-4A18-AF4E-4BBE84FBA83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44904" y="1757510"/>
            <a:ext cx="799836" cy="799836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56306744-637C-4ABF-8255-D1DE57041C2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537739" y="1757510"/>
            <a:ext cx="799836" cy="799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2581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C313537-5E30-494D-9EC6-234A3765A7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8" progId="TCLayout.ActiveDocument.1">
                  <p:embed/>
                </p:oleObj>
              </mc:Choice>
              <mc:Fallback>
                <p:oleObj name="think-cell Folie" r:id="rId4" imgW="306" imgH="3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C313537-5E30-494D-9EC6-234A3765A7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3A2B458-1FDD-4358-B5E6-FA9FA8751E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/>
              <a:t>Dienstleistungen / Schadsoftware zu günstigen Preis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4C0BD2C-A543-44CA-A00D-522E85429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dirty="0" err="1"/>
              <a:t>Cyber</a:t>
            </a:r>
            <a:r>
              <a:rPr lang="de-AT" dirty="0"/>
              <a:t> Crime </a:t>
            </a:r>
            <a:r>
              <a:rPr lang="de-AT" dirty="0" err="1"/>
              <a:t>as</a:t>
            </a:r>
            <a:r>
              <a:rPr lang="de-AT" dirty="0"/>
              <a:t> a </a:t>
            </a:r>
            <a:r>
              <a:rPr lang="de-AT" dirty="0" err="1"/>
              <a:t>service</a:t>
            </a:r>
            <a:endParaRPr lang="de-AT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C505A8A0-335C-406F-B070-9908594CC0F5}"/>
              </a:ext>
            </a:extLst>
          </p:cNvPr>
          <p:cNvGrpSpPr/>
          <p:nvPr/>
        </p:nvGrpSpPr>
        <p:grpSpPr>
          <a:xfrm>
            <a:off x="396874" y="1763714"/>
            <a:ext cx="2069503" cy="1439997"/>
            <a:chOff x="396874" y="1763714"/>
            <a:chExt cx="2069503" cy="2340001"/>
          </a:xfrm>
        </p:grpSpPr>
        <p:sp>
          <p:nvSpPr>
            <p:cNvPr id="32" name="Textplatzhalter 17">
              <a:extLst>
                <a:ext uri="{FF2B5EF4-FFF2-40B4-BE49-F238E27FC236}">
                  <a16:creationId xmlns:a16="http://schemas.microsoft.com/office/drawing/2014/main" id="{8C766C5F-BE97-4128-8CB3-453551A60167}"/>
                </a:ext>
              </a:extLst>
            </p:cNvPr>
            <p:cNvSpPr txBox="1">
              <a:spLocks/>
            </p:cNvSpPr>
            <p:nvPr/>
          </p:nvSpPr>
          <p:spPr>
            <a:xfrm>
              <a:off x="396874" y="1763714"/>
              <a:ext cx="1997503" cy="2340000"/>
            </a:xfrm>
            <a:prstGeom prst="rect">
              <a:avLst/>
            </a:prstGeom>
            <a:solidFill>
              <a:srgbClr val="E0E5E9"/>
            </a:solidFill>
            <a:ln>
              <a:noFill/>
            </a:ln>
            <a:effectLst/>
          </p:spPr>
          <p:txBody>
            <a:bodyPr lIns="144000" tIns="144000" rIns="144000" bIns="144000" anchor="t" anchorCtr="0"/>
            <a:lstStyle>
              <a:defPPr>
                <a:defRPr/>
              </a:defPPr>
              <a:lvl1pPr marR="0" indent="0" algn="r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itchFamily="2" charset="2"/>
                <a:buNone/>
                <a:tabLst/>
                <a:defRPr kumimoji="0" sz="1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</a:defRPr>
              </a:lvl1pPr>
              <a:lvl2pPr marL="787450" indent="-28575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4"/>
                </a:buClr>
                <a:buSzPct val="100000"/>
                <a:buFont typeface="Wingdings 3" panose="05040102010807070707" pitchFamily="18" charset="2"/>
                <a:buChar char=""/>
                <a:defRPr kumimoji="0" sz="1600" b="0" i="0" u="none" strike="noStrike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Univers" pitchFamily="34" charset="0"/>
                </a:defRPr>
              </a:lvl2pPr>
              <a:lvl3pPr marL="392400" indent="-1944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4"/>
                </a:buClr>
                <a:buSzPct val="100000"/>
                <a:buFont typeface="Symbol" pitchFamily="18" charset="2"/>
                <a:buChar char="-"/>
                <a:defRPr kumimoji="0" sz="1600" b="0" i="0" u="none" strike="noStrike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Univers" pitchFamily="34" charset="0"/>
                </a:defRPr>
              </a:lvl3pPr>
              <a:lvl4pPr marL="597600" indent="-2016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4"/>
                </a:buClr>
                <a:buFont typeface="Symbol" pitchFamily="18" charset="2"/>
                <a:buChar char="-"/>
                <a:defRPr sz="16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nivers" pitchFamily="34" charset="0"/>
                  <a:cs typeface="Arial" pitchFamily="34" charset="0"/>
                </a:defRPr>
              </a:lvl4pPr>
              <a:lvl5pPr marL="144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SzPct val="70000"/>
                <a:buFont typeface="Symbol" pitchFamily="18" charset="2"/>
                <a:buChar char="-"/>
                <a:tabLst>
                  <a:tab pos="759913" algn="l"/>
                </a:tabLst>
                <a:defRPr sz="1600" b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nivers" pitchFamily="34" charset="0"/>
                  <a:cs typeface="Arial" pitchFamily="34" charset="0"/>
                </a:defRPr>
              </a:lvl5pPr>
              <a:lvl6pPr marL="288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900" baseline="0">
                  <a:latin typeface="Trebuchet MS" panose="020B0603020202020204" pitchFamily="34" charset="0"/>
                  <a:cs typeface="Arial" pitchFamily="34" charset="0"/>
                </a:defRPr>
              </a:lvl6pPr>
              <a:lvl7pPr marL="432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900">
                  <a:latin typeface="Trebuchet MS" panose="020B0603020202020204" pitchFamily="34" charset="0"/>
                  <a:cs typeface="Arial" pitchFamily="34" charset="0"/>
                </a:defRPr>
              </a:lvl7pPr>
              <a:lvl8pPr marL="576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◦"/>
                <a:defRPr sz="900">
                  <a:latin typeface="Trebuchet MS" panose="020B0603020202020204" pitchFamily="34" charset="0"/>
                  <a:cs typeface="Arial" pitchFamily="34" charset="0"/>
                </a:defRPr>
              </a:lvl8pPr>
              <a:lvl9pPr marL="720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–"/>
                <a:defRPr sz="900" baseline="0">
                  <a:latin typeface="Trebuchet MS" panose="020B0603020202020204" pitchFamily="34" charset="0"/>
                  <a:cs typeface="Arial" pitchFamily="34" charset="0"/>
                </a:defRPr>
              </a:lvl9pPr>
            </a:lstStyle>
            <a:p>
              <a:pPr marL="0" marR="0" lvl="0" indent="0" algn="r" defTabSz="96624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657C91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lang="de-DE" dirty="0">
                  <a:solidFill>
                    <a:srgbClr val="404040"/>
                  </a:solidFill>
                  <a:latin typeface="Trebuchet MS"/>
                </a:rPr>
                <a:t>Was ist </a:t>
              </a:r>
              <a:r>
                <a:rPr lang="de-DE" dirty="0" err="1">
                  <a:solidFill>
                    <a:srgbClr val="404040"/>
                  </a:solidFill>
                  <a:latin typeface="Trebuchet MS"/>
                </a:rPr>
                <a:t>CaaS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3" name="Freeform 155">
              <a:extLst>
                <a:ext uri="{FF2B5EF4-FFF2-40B4-BE49-F238E27FC236}">
                  <a16:creationId xmlns:a16="http://schemas.microsoft.com/office/drawing/2014/main" id="{C26C64FA-6792-448A-9EA0-6E621ED2EA76}"/>
                </a:ext>
              </a:extLst>
            </p:cNvPr>
            <p:cNvSpPr/>
            <p:nvPr/>
          </p:nvSpPr>
          <p:spPr>
            <a:xfrm rot="16200000">
              <a:off x="1260377" y="2897715"/>
              <a:ext cx="2340000" cy="72000"/>
            </a:xfrm>
            <a:custGeom>
              <a:avLst/>
              <a:gdLst/>
              <a:ahLst/>
              <a:cxnLst/>
              <a:rect l="0" t="0" r="0" b="0"/>
              <a:pathLst>
                <a:path w="1079996" h="108001">
                  <a:moveTo>
                    <a:pt x="0" y="108001"/>
                  </a:moveTo>
                  <a:lnTo>
                    <a:pt x="1079996" y="108001"/>
                  </a:lnTo>
                  <a:lnTo>
                    <a:pt x="1079996" y="0"/>
                  </a:lnTo>
                  <a:lnTo>
                    <a:pt x="0" y="0"/>
                  </a:lnTo>
                  <a:lnTo>
                    <a:pt x="0" y="108001"/>
                  </a:lnTo>
                  <a:close/>
                </a:path>
              </a:pathLst>
            </a:custGeom>
            <a:solidFill>
              <a:srgbClr val="ED1A3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C3A11700-83D1-4FC2-8871-A238B39DC8E6}"/>
              </a:ext>
            </a:extLst>
          </p:cNvPr>
          <p:cNvGrpSpPr/>
          <p:nvPr/>
        </p:nvGrpSpPr>
        <p:grpSpPr>
          <a:xfrm>
            <a:off x="396874" y="3492432"/>
            <a:ext cx="2069504" cy="1439997"/>
            <a:chOff x="396874" y="4321150"/>
            <a:chExt cx="2069504" cy="2340001"/>
          </a:xfrm>
        </p:grpSpPr>
        <p:sp>
          <p:nvSpPr>
            <p:cNvPr id="35" name="Textplatzhalter 17">
              <a:extLst>
                <a:ext uri="{FF2B5EF4-FFF2-40B4-BE49-F238E27FC236}">
                  <a16:creationId xmlns:a16="http://schemas.microsoft.com/office/drawing/2014/main" id="{A8F00155-6840-4A87-A740-9D3D82D42B9C}"/>
                </a:ext>
              </a:extLst>
            </p:cNvPr>
            <p:cNvSpPr txBox="1">
              <a:spLocks/>
            </p:cNvSpPr>
            <p:nvPr/>
          </p:nvSpPr>
          <p:spPr>
            <a:xfrm>
              <a:off x="396874" y="4321150"/>
              <a:ext cx="2009090" cy="2339999"/>
            </a:xfrm>
            <a:prstGeom prst="rect">
              <a:avLst/>
            </a:prstGeom>
            <a:solidFill>
              <a:srgbClr val="E0E5E9"/>
            </a:solidFill>
            <a:ln>
              <a:noFill/>
            </a:ln>
            <a:effectLst/>
          </p:spPr>
          <p:txBody>
            <a:bodyPr lIns="144000" tIns="144000" rIns="144000" bIns="144000" anchor="t" anchorCtr="0"/>
            <a:lstStyle>
              <a:defPPr>
                <a:defRPr/>
              </a:defPPr>
              <a:lvl1pPr marR="0" indent="0" algn="r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itchFamily="2" charset="2"/>
                <a:buNone/>
                <a:tabLst/>
                <a:defRPr kumimoji="0" sz="1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</a:defRPr>
              </a:lvl1pPr>
              <a:lvl2pPr marL="787450" indent="-28575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4"/>
                </a:buClr>
                <a:buSzPct val="100000"/>
                <a:buFont typeface="Wingdings 3" panose="05040102010807070707" pitchFamily="18" charset="2"/>
                <a:buChar char=""/>
                <a:defRPr kumimoji="0" sz="1600" b="0" i="0" u="none" strike="noStrike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Univers" pitchFamily="34" charset="0"/>
                </a:defRPr>
              </a:lvl2pPr>
              <a:lvl3pPr marL="392400" indent="-1944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4"/>
                </a:buClr>
                <a:buSzPct val="100000"/>
                <a:buFont typeface="Symbol" pitchFamily="18" charset="2"/>
                <a:buChar char="-"/>
                <a:defRPr kumimoji="0" sz="1600" b="0" i="0" u="none" strike="noStrike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Univers" pitchFamily="34" charset="0"/>
                </a:defRPr>
              </a:lvl3pPr>
              <a:lvl4pPr marL="597600" indent="-2016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4"/>
                </a:buClr>
                <a:buFont typeface="Symbol" pitchFamily="18" charset="2"/>
                <a:buChar char="-"/>
                <a:defRPr sz="16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nivers" pitchFamily="34" charset="0"/>
                  <a:cs typeface="Arial" pitchFamily="34" charset="0"/>
                </a:defRPr>
              </a:lvl4pPr>
              <a:lvl5pPr marL="144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SzPct val="70000"/>
                <a:buFont typeface="Symbol" pitchFamily="18" charset="2"/>
                <a:buChar char="-"/>
                <a:tabLst>
                  <a:tab pos="759913" algn="l"/>
                </a:tabLst>
                <a:defRPr sz="1600" b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nivers" pitchFamily="34" charset="0"/>
                  <a:cs typeface="Arial" pitchFamily="34" charset="0"/>
                </a:defRPr>
              </a:lvl5pPr>
              <a:lvl6pPr marL="288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900" baseline="0">
                  <a:latin typeface="Trebuchet MS" panose="020B0603020202020204" pitchFamily="34" charset="0"/>
                  <a:cs typeface="Arial" pitchFamily="34" charset="0"/>
                </a:defRPr>
              </a:lvl6pPr>
              <a:lvl7pPr marL="432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900">
                  <a:latin typeface="Trebuchet MS" panose="020B0603020202020204" pitchFamily="34" charset="0"/>
                  <a:cs typeface="Arial" pitchFamily="34" charset="0"/>
                </a:defRPr>
              </a:lvl7pPr>
              <a:lvl8pPr marL="576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◦"/>
                <a:defRPr sz="900">
                  <a:latin typeface="Trebuchet MS" panose="020B0603020202020204" pitchFamily="34" charset="0"/>
                  <a:cs typeface="Arial" pitchFamily="34" charset="0"/>
                </a:defRPr>
              </a:lvl8pPr>
              <a:lvl9pPr marL="720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–"/>
                <a:defRPr sz="900" baseline="0">
                  <a:latin typeface="Trebuchet MS" panose="020B0603020202020204" pitchFamily="34" charset="0"/>
                  <a:cs typeface="Arial" pitchFamily="34" charset="0"/>
                </a:defRPr>
              </a:lvl9pPr>
            </a:lstStyle>
            <a:p>
              <a:pPr marL="0" marR="0" lvl="0" indent="0" algn="r" defTabSz="96624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657C91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lang="de-DE" dirty="0">
                  <a:solidFill>
                    <a:srgbClr val="404040"/>
                  </a:solidFill>
                  <a:latin typeface="Trebuchet MS"/>
                </a:rPr>
                <a:t>Dienstleistungen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36" name="Freeform 155">
              <a:extLst>
                <a:ext uri="{FF2B5EF4-FFF2-40B4-BE49-F238E27FC236}">
                  <a16:creationId xmlns:a16="http://schemas.microsoft.com/office/drawing/2014/main" id="{1833DD41-47A7-4217-8A05-5DC2369A0A58}"/>
                </a:ext>
              </a:extLst>
            </p:cNvPr>
            <p:cNvSpPr/>
            <p:nvPr/>
          </p:nvSpPr>
          <p:spPr>
            <a:xfrm rot="16200000">
              <a:off x="1260378" y="5455151"/>
              <a:ext cx="2340000" cy="72000"/>
            </a:xfrm>
            <a:custGeom>
              <a:avLst/>
              <a:gdLst/>
              <a:ahLst/>
              <a:cxnLst/>
              <a:rect l="0" t="0" r="0" b="0"/>
              <a:pathLst>
                <a:path w="1079996" h="108001">
                  <a:moveTo>
                    <a:pt x="0" y="108001"/>
                  </a:moveTo>
                  <a:lnTo>
                    <a:pt x="1079996" y="108001"/>
                  </a:lnTo>
                  <a:lnTo>
                    <a:pt x="1079996" y="0"/>
                  </a:lnTo>
                  <a:lnTo>
                    <a:pt x="0" y="0"/>
                  </a:lnTo>
                  <a:lnTo>
                    <a:pt x="0" y="108001"/>
                  </a:lnTo>
                  <a:close/>
                </a:path>
              </a:pathLst>
            </a:custGeom>
            <a:solidFill>
              <a:srgbClr val="ED1A3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C040666-B16E-40C9-AD65-6F6E9F2BE466}"/>
              </a:ext>
            </a:extLst>
          </p:cNvPr>
          <p:cNvGrpSpPr/>
          <p:nvPr/>
        </p:nvGrpSpPr>
        <p:grpSpPr>
          <a:xfrm>
            <a:off x="396874" y="5221151"/>
            <a:ext cx="2069504" cy="1439997"/>
            <a:chOff x="396874" y="4321150"/>
            <a:chExt cx="2069504" cy="2340001"/>
          </a:xfrm>
        </p:grpSpPr>
        <p:sp>
          <p:nvSpPr>
            <p:cNvPr id="38" name="Textplatzhalter 17">
              <a:extLst>
                <a:ext uri="{FF2B5EF4-FFF2-40B4-BE49-F238E27FC236}">
                  <a16:creationId xmlns:a16="http://schemas.microsoft.com/office/drawing/2014/main" id="{3B0F59CF-7120-4422-AEC1-2238FBC03CD6}"/>
                </a:ext>
              </a:extLst>
            </p:cNvPr>
            <p:cNvSpPr txBox="1">
              <a:spLocks/>
            </p:cNvSpPr>
            <p:nvPr/>
          </p:nvSpPr>
          <p:spPr>
            <a:xfrm>
              <a:off x="396874" y="4321150"/>
              <a:ext cx="2009090" cy="2339999"/>
            </a:xfrm>
            <a:prstGeom prst="rect">
              <a:avLst/>
            </a:prstGeom>
            <a:solidFill>
              <a:srgbClr val="E0E5E9"/>
            </a:solidFill>
            <a:ln>
              <a:noFill/>
            </a:ln>
            <a:effectLst/>
          </p:spPr>
          <p:txBody>
            <a:bodyPr lIns="144000" tIns="144000" rIns="144000" bIns="144000" anchor="t" anchorCtr="0"/>
            <a:lstStyle>
              <a:defPPr>
                <a:defRPr/>
              </a:defPPr>
              <a:lvl1pPr marR="0" indent="0" algn="r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itchFamily="2" charset="2"/>
                <a:buNone/>
                <a:tabLst/>
                <a:defRPr kumimoji="0" sz="16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</a:defRPr>
              </a:lvl1pPr>
              <a:lvl2pPr marL="787450" indent="-285750">
                <a:lnSpc>
                  <a:spcPct val="7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4"/>
                </a:buClr>
                <a:buSzPct val="100000"/>
                <a:buFont typeface="Wingdings 3" panose="05040102010807070707" pitchFamily="18" charset="2"/>
                <a:buChar char=""/>
                <a:defRPr kumimoji="0" sz="1600" b="0" i="0" u="none" strike="noStrike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Univers" pitchFamily="34" charset="0"/>
                </a:defRPr>
              </a:lvl2pPr>
              <a:lvl3pPr marL="392400" indent="-1944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4"/>
                </a:buClr>
                <a:buSzPct val="100000"/>
                <a:buFont typeface="Symbol" pitchFamily="18" charset="2"/>
                <a:buChar char="-"/>
                <a:defRPr kumimoji="0" sz="1600" b="0" i="0" u="none" strike="noStrike" cap="none" spc="0" normalizeH="0" baseline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Univers" pitchFamily="34" charset="0"/>
                </a:defRPr>
              </a:lvl3pPr>
              <a:lvl4pPr marL="597600" indent="-2016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4"/>
                </a:buClr>
                <a:buFont typeface="Symbol" pitchFamily="18" charset="2"/>
                <a:buChar char="-"/>
                <a:defRPr sz="1600" b="0" i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nivers" pitchFamily="34" charset="0"/>
                  <a:cs typeface="Arial" pitchFamily="34" charset="0"/>
                </a:defRPr>
              </a:lvl4pPr>
              <a:lvl5pPr marL="144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SzPct val="70000"/>
                <a:buFont typeface="Symbol" pitchFamily="18" charset="2"/>
                <a:buChar char="-"/>
                <a:tabLst>
                  <a:tab pos="759913" algn="l"/>
                </a:tabLst>
                <a:defRPr sz="1600" b="0">
                  <a:solidFill>
                    <a:schemeClr val="tx1">
                      <a:lumMod val="65000"/>
                      <a:lumOff val="35000"/>
                    </a:schemeClr>
                  </a:solidFill>
                  <a:latin typeface="Univers" pitchFamily="34" charset="0"/>
                  <a:cs typeface="Arial" pitchFamily="34" charset="0"/>
                </a:defRPr>
              </a:lvl5pPr>
              <a:lvl6pPr marL="288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•"/>
                <a:defRPr sz="900" baseline="0">
                  <a:latin typeface="Trebuchet MS" panose="020B0603020202020204" pitchFamily="34" charset="0"/>
                  <a:cs typeface="Arial" pitchFamily="34" charset="0"/>
                </a:defRPr>
              </a:lvl6pPr>
              <a:lvl7pPr marL="432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sz="900">
                  <a:latin typeface="Trebuchet MS" panose="020B0603020202020204" pitchFamily="34" charset="0"/>
                  <a:cs typeface="Arial" pitchFamily="34" charset="0"/>
                </a:defRPr>
              </a:lvl7pPr>
              <a:lvl8pPr marL="576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◦"/>
                <a:defRPr sz="900">
                  <a:latin typeface="Trebuchet MS" panose="020B0603020202020204" pitchFamily="34" charset="0"/>
                  <a:cs typeface="Arial" pitchFamily="34" charset="0"/>
                </a:defRPr>
              </a:lvl8pPr>
              <a:lvl9pPr marL="720000" indent="-144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–"/>
                <a:defRPr sz="900" baseline="0">
                  <a:latin typeface="Trebuchet MS" panose="020B0603020202020204" pitchFamily="34" charset="0"/>
                  <a:cs typeface="Arial" pitchFamily="34" charset="0"/>
                </a:defRPr>
              </a:lvl9pPr>
            </a:lstStyle>
            <a:p>
              <a:pPr marL="0" marR="0" lvl="0" indent="0" algn="r" defTabSz="966246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657C91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Umsatzmodelle</a:t>
              </a:r>
            </a:p>
          </p:txBody>
        </p:sp>
        <p:sp>
          <p:nvSpPr>
            <p:cNvPr id="39" name="Freeform 155">
              <a:extLst>
                <a:ext uri="{FF2B5EF4-FFF2-40B4-BE49-F238E27FC236}">
                  <a16:creationId xmlns:a16="http://schemas.microsoft.com/office/drawing/2014/main" id="{99E43898-14E7-41DB-817C-F4E71221AE2A}"/>
                </a:ext>
              </a:extLst>
            </p:cNvPr>
            <p:cNvSpPr/>
            <p:nvPr/>
          </p:nvSpPr>
          <p:spPr>
            <a:xfrm rot="16200000">
              <a:off x="1260378" y="5455151"/>
              <a:ext cx="2340000" cy="72000"/>
            </a:xfrm>
            <a:custGeom>
              <a:avLst/>
              <a:gdLst/>
              <a:ahLst/>
              <a:cxnLst/>
              <a:rect l="0" t="0" r="0" b="0"/>
              <a:pathLst>
                <a:path w="1079996" h="108001">
                  <a:moveTo>
                    <a:pt x="0" y="108001"/>
                  </a:moveTo>
                  <a:lnTo>
                    <a:pt x="1079996" y="108001"/>
                  </a:lnTo>
                  <a:lnTo>
                    <a:pt x="1079996" y="0"/>
                  </a:lnTo>
                  <a:lnTo>
                    <a:pt x="0" y="0"/>
                  </a:lnTo>
                  <a:lnTo>
                    <a:pt x="0" y="108001"/>
                  </a:lnTo>
                  <a:close/>
                </a:path>
              </a:pathLst>
            </a:custGeom>
            <a:solidFill>
              <a:srgbClr val="ED1A3B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358BD810-1556-4CFE-B180-BD4DFB6E9006}"/>
              </a:ext>
            </a:extLst>
          </p:cNvPr>
          <p:cNvSpPr txBox="1">
            <a:spLocks/>
          </p:cNvSpPr>
          <p:nvPr/>
        </p:nvSpPr>
        <p:spPr>
          <a:xfrm>
            <a:off x="2897361" y="1763715"/>
            <a:ext cx="7394400" cy="14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Hackergruppen verkaufen ihre Produkte an andere (weniger versierte) Hacker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Vertrieb über Foren im Untergrund (Darknet)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lang="de-AT" dirty="0">
                <a:solidFill>
                  <a:srgbClr val="404040"/>
                </a:solidFill>
                <a:latin typeface="Trebuchet MS"/>
              </a:rPr>
              <a:t>Reputationsbasiert – man muss sich in den Foren erst beweisen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Bezahlung über Crypto-Währungen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AFA110C6-1FCD-43E9-98D2-83161DBF90E5}"/>
              </a:ext>
            </a:extLst>
          </p:cNvPr>
          <p:cNvSpPr txBox="1">
            <a:spLocks/>
          </p:cNvSpPr>
          <p:nvPr/>
        </p:nvSpPr>
        <p:spPr>
          <a:xfrm>
            <a:off x="2897361" y="3492429"/>
            <a:ext cx="7394400" cy="14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Distributed Denial of Service (DDoS)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Ransomware as a Service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Access as a Service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lang="en-US" dirty="0" err="1">
                <a:solidFill>
                  <a:srgbClr val="404040"/>
                </a:solidFill>
                <a:latin typeface="Trebuchet MS"/>
              </a:rPr>
              <a:t>Verkauf</a:t>
            </a:r>
            <a:r>
              <a:rPr lang="en-US" dirty="0">
                <a:solidFill>
                  <a:srgbClr val="404040"/>
                </a:solidFill>
                <a:latin typeface="Trebuchet MS"/>
              </a:rPr>
              <a:t> von </a:t>
            </a:r>
            <a:r>
              <a:rPr lang="en-US" dirty="0" err="1">
                <a:solidFill>
                  <a:srgbClr val="404040"/>
                </a:solidFill>
                <a:latin typeface="Trebuchet MS"/>
              </a:rPr>
              <a:t>Schwachstellen</a:t>
            </a:r>
            <a:r>
              <a:rPr lang="en-US" dirty="0">
                <a:solidFill>
                  <a:srgbClr val="404040"/>
                </a:solidFill>
                <a:latin typeface="Trebuchet MS"/>
              </a:rPr>
              <a:t> und Exploit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6C479A63-314B-4214-9D5B-2938BE486C7F}"/>
              </a:ext>
            </a:extLst>
          </p:cNvPr>
          <p:cNvSpPr txBox="1">
            <a:spLocks/>
          </p:cNvSpPr>
          <p:nvPr/>
        </p:nvSpPr>
        <p:spPr>
          <a:xfrm>
            <a:off x="2897361" y="5221149"/>
            <a:ext cx="7394400" cy="14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marR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488950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4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2pPr>
            <a:lvl3pPr marL="738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kumimoji="0" lang="de-DE" sz="1200" b="0" i="0" u="none" strike="noStrike" kern="120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Arial"/>
              </a:defRPr>
            </a:lvl3pPr>
            <a:lvl4pPr marL="992188" indent="-250825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defRPr sz="900" b="0" i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4pPr>
            <a:lvl5pPr marL="1227138" indent="-241300" algn="l" defTabSz="96624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100000"/>
              <a:buFont typeface="Wingdings" panose="05000000000000000000" pitchFamily="2" charset="2"/>
              <a:buChar char="§"/>
              <a:tabLst>
                <a:tab pos="759913" algn="l"/>
              </a:tabLst>
              <a:defRPr sz="900" b="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Monatsabonnement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Gewinnbeteiligung (in der Regel 20–30 %)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Einmaliger Lizenzkauf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Aufwandsbasiert (z.B. bei </a:t>
            </a:r>
            <a:r>
              <a:rPr kumimoji="0" lang="de-AT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DDos</a:t>
            </a:r>
            <a:r>
              <a:rPr kumimoji="0" lang="de-AT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Arial"/>
              </a:rPr>
              <a:t>)</a:t>
            </a:r>
          </a:p>
          <a:p>
            <a:pPr marL="252000" marR="0" lvl="0" indent="-252000" algn="l" defTabSz="10080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  <a:tabLst/>
              <a:defRPr/>
            </a:pPr>
            <a:endParaRPr kumimoji="0" lang="de-AT" sz="12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119F67FD-DA35-BF7C-863B-086C88C1756D}"/>
              </a:ext>
            </a:extLst>
          </p:cNvPr>
          <p:cNvGrpSpPr/>
          <p:nvPr/>
        </p:nvGrpSpPr>
        <p:grpSpPr>
          <a:xfrm>
            <a:off x="6858868" y="3644861"/>
            <a:ext cx="4044307" cy="3062453"/>
            <a:chOff x="6678437" y="455669"/>
            <a:chExt cx="4044307" cy="3062453"/>
          </a:xfrm>
        </p:grpSpPr>
        <p:pic>
          <p:nvPicPr>
            <p:cNvPr id="1026" name="Picture 2" descr="dot-ransomware-as-a-service-raas">
              <a:extLst>
                <a:ext uri="{FF2B5EF4-FFF2-40B4-BE49-F238E27FC236}">
                  <a16:creationId xmlns:a16="http://schemas.microsoft.com/office/drawing/2014/main" id="{1B2C3614-DCFA-A18A-A098-B0D8437958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8437" y="455669"/>
              <a:ext cx="3620419" cy="302433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E0F0918E-D0D1-B82C-7374-D2F2DD00CDD4}"/>
                </a:ext>
              </a:extLst>
            </p:cNvPr>
            <p:cNvSpPr txBox="1"/>
            <p:nvPr/>
          </p:nvSpPr>
          <p:spPr>
            <a:xfrm>
              <a:off x="8130456" y="3318067"/>
              <a:ext cx="2592288" cy="200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00" dirty="0">
                  <a:solidFill>
                    <a:schemeClr val="bg1"/>
                  </a:solidFill>
                </a:rPr>
                <a:t>https://zvelo.com/raas-ransomware-as-a-service/</a:t>
              </a:r>
              <a:endParaRPr lang="de-AT" sz="7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2460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6748984-4587-42AE-9D92-33820EA2E7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0636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6748984-4587-42AE-9D92-33820EA2E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500CAD4A-1969-4C16-BD38-FDBC7493CFD2}"/>
              </a:ext>
            </a:extLst>
          </p:cNvPr>
          <p:cNvSpPr txBox="1">
            <a:spLocks/>
          </p:cNvSpPr>
          <p:nvPr/>
        </p:nvSpPr>
        <p:spPr>
          <a:xfrm>
            <a:off x="0" y="1404938"/>
            <a:ext cx="10693400" cy="5256212"/>
          </a:xfrm>
          <a:prstGeom prst="rect">
            <a:avLst/>
          </a:prstGeom>
          <a:solidFill>
            <a:srgbClr val="E0E5E9"/>
          </a:solidFill>
          <a:ln w="19050">
            <a:noFill/>
          </a:ln>
          <a:effectLst/>
        </p:spPr>
        <p:txBody>
          <a:bodyPr lIns="72000" rIns="36000" bIns="46800" anchor="ctr" anchorCtr="0"/>
          <a:lstStyle>
            <a:lvl1pPr marL="0" marR="0" indent="0" algn="ctr" defTabSz="966246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chemeClr val="accent4"/>
              </a:buClr>
              <a:buSzTx/>
              <a:buFont typeface="Wingdings" pitchFamily="2" charset="2"/>
              <a:buNone/>
              <a:tabLst/>
              <a:defRPr kumimoji="0" lang="de-DE" sz="1400" b="0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787450" indent="-285750" algn="l" defTabSz="966246" rtl="0" eaLnBrk="1" latinLnBrk="0" hangingPunct="1">
              <a:lnSpc>
                <a:spcPct val="7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Wingdings 3" panose="05040102010807070707" pitchFamily="18" charset="2"/>
              <a:buChar char="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2pPr>
            <a:lvl3pPr marL="392400" indent="-1944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ct val="100000"/>
              <a:buFont typeface="Symbol" pitchFamily="18" charset="2"/>
              <a:buChar char="-"/>
              <a:defRPr kumimoji="0" lang="de-DE" sz="1600" b="0" i="0" u="none" strike="noStrike" kern="1200" cap="none" spc="0" normalizeH="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Univers" pitchFamily="34" charset="0"/>
                <a:ea typeface="+mn-ea"/>
                <a:cs typeface="+mn-cs"/>
                <a:sym typeface="Arial"/>
              </a:defRPr>
            </a:lvl3pPr>
            <a:lvl4pPr marL="597600" indent="-2016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Font typeface="Symbol" pitchFamily="18" charset="2"/>
              <a:buChar char="-"/>
              <a:defRPr sz="16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4pPr>
            <a:lvl5pPr marL="144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70000"/>
              <a:buFont typeface="Symbol" pitchFamily="18" charset="2"/>
              <a:buChar char="-"/>
              <a:tabLst>
                <a:tab pos="759913" algn="l"/>
              </a:tabLst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Univers" pitchFamily="34" charset="0"/>
                <a:ea typeface="+mn-ea"/>
                <a:cs typeface="Arial" pitchFamily="34" charset="0"/>
              </a:defRPr>
            </a:lvl5pPr>
            <a:lvl6pPr marL="288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6pPr>
            <a:lvl7pPr marL="432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7pPr>
            <a:lvl8pPr marL="576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◦"/>
              <a:defRPr sz="9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8pPr>
            <a:lvl9pPr marL="720000" indent="-144000" algn="l" defTabSz="96624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–"/>
              <a:defRPr sz="900" kern="1200" baseline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662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657C91"/>
              </a:buClr>
              <a:buSzTx/>
              <a:buFont typeface="Wingdings" pitchFamily="2" charset="2"/>
              <a:buNone/>
              <a:tabLst/>
              <a:defRPr/>
            </a:pP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Arial"/>
            </a:endParaRPr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9E1A3D4-FAD3-403A-822A-2B4C1E6B98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 err="1"/>
              <a:t>Cyber</a:t>
            </a:r>
            <a:r>
              <a:rPr lang="de-AT" dirty="0"/>
              <a:t> Crime - IT-Kriminalität als weltweit hochprofitables Geschäf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15B95E8-FF4B-4C12-B14F-3019518AD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Wer sind die Profiteure von </a:t>
            </a:r>
            <a:r>
              <a:rPr lang="de-AT" dirty="0" err="1"/>
              <a:t>Cyber</a:t>
            </a:r>
            <a:r>
              <a:rPr lang="de-AT" dirty="0"/>
              <a:t> Crime?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DFF4084-06F9-48C6-86C9-E9AC3E370B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0038" y="3924647"/>
            <a:ext cx="2664295" cy="2664295"/>
          </a:xfrm>
          <a:prstGeom prst="rect">
            <a:avLst/>
          </a:prstGeom>
          <a:ln>
            <a:noFill/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843BCA5-4A02-4ED0-A45D-DE810630FA56}"/>
              </a:ext>
            </a:extLst>
          </p:cNvPr>
          <p:cNvSpPr txBox="1"/>
          <p:nvPr/>
        </p:nvSpPr>
        <p:spPr>
          <a:xfrm>
            <a:off x="303831" y="7011699"/>
            <a:ext cx="69150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AT" sz="900" i="1" dirty="0"/>
              <a:t>https://www.interpol.int/News-and-Events/News/2021/INTERPOL-led-operation-takes-down-prolific-cybercrime-ring</a:t>
            </a:r>
          </a:p>
          <a:p>
            <a:r>
              <a:rPr lang="de-AT" sz="900" i="1" dirty="0"/>
              <a:t>https://www.bbc.com/news/technology-59297187</a:t>
            </a:r>
          </a:p>
        </p:txBody>
      </p:sp>
      <p:pic>
        <p:nvPicPr>
          <p:cNvPr id="28674" name="Picture 2" descr="Evil Corp group member Andrey Plotnitskiy standing in front of a Porsche, according to the UK's National Crime Agency">
            <a:extLst>
              <a:ext uri="{FF2B5EF4-FFF2-40B4-BE49-F238E27FC236}">
                <a16:creationId xmlns:a16="http://schemas.microsoft.com/office/drawing/2014/main" id="{5E49C8A3-BF43-4783-B570-0DD3B4278D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2" t="19040" r="5786" b="26017"/>
          <a:stretch/>
        </p:blipFill>
        <p:spPr bwMode="auto">
          <a:xfrm>
            <a:off x="895615" y="1491070"/>
            <a:ext cx="3793395" cy="2314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Pictures Reveal Russian Millionaire Hackers Live a Lavish Lifestyle">
            <a:extLst>
              <a:ext uri="{FF2B5EF4-FFF2-40B4-BE49-F238E27FC236}">
                <a16:creationId xmlns:a16="http://schemas.microsoft.com/office/drawing/2014/main" id="{2AA6197F-3D89-49BD-97AE-BF5CBFF7E1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4732" y="3996655"/>
            <a:ext cx="4604417" cy="259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6" name="Picture 4" descr="Picture of an alleged member of Evil Corp holding wads of cash">
            <a:extLst>
              <a:ext uri="{FF2B5EF4-FFF2-40B4-BE49-F238E27FC236}">
                <a16:creationId xmlns:a16="http://schemas.microsoft.com/office/drawing/2014/main" id="{4C744B74-7530-4347-855D-82EAFB0352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338" y="1491070"/>
            <a:ext cx="2122024" cy="2293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6F3127F6-464F-40C8-945E-CB2FCDC1ACB8}"/>
              </a:ext>
            </a:extLst>
          </p:cNvPr>
          <p:cNvSpPr/>
          <p:nvPr/>
        </p:nvSpPr>
        <p:spPr>
          <a:xfrm>
            <a:off x="4081585" y="2140223"/>
            <a:ext cx="2530230" cy="2530230"/>
          </a:xfrm>
          <a:prstGeom prst="ellipse">
            <a:avLst/>
          </a:prstGeom>
          <a:solidFill>
            <a:srgbClr val="B2BD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buClr>
                <a:srgbClr val="ED1A3B"/>
              </a:buClr>
              <a:buSzPct val="80000"/>
            </a:pPr>
            <a:endParaRPr lang="de-AT" sz="1400" dirty="0" err="1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3D1F3F6-0BDE-4938-A083-A905E9B850BF}"/>
              </a:ext>
            </a:extLst>
          </p:cNvPr>
          <p:cNvSpPr txBox="1"/>
          <p:nvPr/>
        </p:nvSpPr>
        <p:spPr>
          <a:xfrm>
            <a:off x="4285688" y="2344326"/>
            <a:ext cx="2122024" cy="2122024"/>
          </a:xfrm>
          <a:prstGeom prst="rect">
            <a:avLst/>
          </a:prstGeom>
          <a:noFill/>
        </p:spPr>
        <p:txBody>
          <a:bodyPr wrap="none" lIns="36000" tIns="36000" rIns="36000" bIns="36000" rtlCol="0" anchor="ctr" anchorCtr="0">
            <a:noAutofit/>
          </a:bodyPr>
          <a:lstStyle/>
          <a:p>
            <a:pPr algn="ctr" defTabSz="1008044">
              <a:buClr>
                <a:srgbClr val="ED1A3B"/>
              </a:buClr>
              <a:buSzPct val="80000"/>
            </a:pPr>
            <a:r>
              <a:rPr lang="de-AT" sz="2400" b="1" dirty="0">
                <a:sym typeface="Arial"/>
              </a:rPr>
              <a:t>Hacker Group</a:t>
            </a:r>
          </a:p>
          <a:p>
            <a:pPr algn="ctr" defTabSz="1008044">
              <a:buClr>
                <a:srgbClr val="ED1A3B"/>
              </a:buClr>
              <a:buSzPct val="80000"/>
            </a:pPr>
            <a:r>
              <a:rPr lang="de-AT" sz="2400" b="1" dirty="0" err="1">
                <a:sym typeface="Arial"/>
              </a:rPr>
              <a:t>REvil</a:t>
            </a:r>
            <a:endParaRPr lang="de-AT" sz="2400" b="1" dirty="0">
              <a:sym typeface="Arial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4D50C296-1B3D-4E60-93D6-87FC1668810D}"/>
              </a:ext>
            </a:extLst>
          </p:cNvPr>
          <p:cNvGrpSpPr/>
          <p:nvPr/>
        </p:nvGrpSpPr>
        <p:grpSpPr>
          <a:xfrm rot="10800000">
            <a:off x="5922764" y="3676012"/>
            <a:ext cx="4974739" cy="389266"/>
            <a:chOff x="-744598" y="6468734"/>
            <a:chExt cx="4974739" cy="389266"/>
          </a:xfrm>
        </p:grpSpPr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62B678E5-A05F-46F5-8229-56AC0C200F03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3840875" y="6468734"/>
              <a:ext cx="389266" cy="389266"/>
            </a:xfrm>
            <a:prstGeom prst="ellipse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662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D1A3B"/>
                </a:buClr>
                <a:buSzPct val="80000"/>
                <a:buFontTx/>
                <a:buNone/>
                <a:tabLst/>
                <a:defRPr/>
              </a:pPr>
              <a:endParaRPr kumimoji="0" lang="de-A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1F5E7FE-8496-4839-8A7B-5B235203DEE6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-744598" y="6663367"/>
              <a:ext cx="4780107" cy="0"/>
            </a:xfrm>
            <a:prstGeom prst="line">
              <a:avLst/>
            </a:prstGeom>
            <a:ln w="1905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562938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E391605-E305-4BDC-B9AB-FD31F94C6A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AT" sz="7200" dirty="0"/>
              <a:t>Aktuelle Bedrohung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ED56360-CC1A-4E37-BFF8-2106DEEA1E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95F4F3EB-5666-4249-842F-B1065E53A9B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2248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17iBBDwkb9j5__h.sd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jeZTTMRwCYm410eN6j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8lI4dnTiahK.4AIGOB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jeZTTMRwCYm410eN6j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8lI4dnTiahK.4AIGOB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8lI4dnTiahK.4AIGOB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dxZqo7rttDr8CG2bp1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NAmV61eRpMoaX.kAVX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17iBBDwkb9j5__h.sd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/Back/Divider">
  <a:themeElements>
    <a:clrScheme name="Global Marketing Farbdesign">
      <a:dk1>
        <a:srgbClr val="404040"/>
      </a:dk1>
      <a:lt1>
        <a:srgbClr val="FFFFFF"/>
      </a:lt1>
      <a:dk2>
        <a:srgbClr val="ED1A3B"/>
      </a:dk2>
      <a:lt2>
        <a:srgbClr val="218F8B"/>
      </a:lt2>
      <a:accent1>
        <a:srgbClr val="02A5E2"/>
      </a:accent1>
      <a:accent2>
        <a:srgbClr val="DF8639"/>
      </a:accent2>
      <a:accent3>
        <a:srgbClr val="98002E"/>
      </a:accent3>
      <a:accent4>
        <a:srgbClr val="657C91"/>
      </a:accent4>
      <a:accent5>
        <a:srgbClr val="E7E7E7"/>
      </a:accent5>
      <a:accent6>
        <a:srgbClr val="FFFFFF"/>
      </a:accent6>
      <a:hlink>
        <a:srgbClr val="02A5E2"/>
      </a:hlink>
      <a:folHlink>
        <a:srgbClr val="8FDFFE"/>
      </a:folHlink>
    </a:clrScheme>
    <a:fontScheme name="Schriftformat BDO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buClr>
            <a:srgbClr val="ED1A3B"/>
          </a:buClr>
          <a:buSzPct val="80000"/>
          <a:defRPr sz="1400" dirty="0" err="1" smtClean="0">
            <a:solidFill>
              <a:schemeClr val="tx1"/>
            </a:solidFill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40404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 anchorCtr="0">
        <a:noAutofit/>
      </a:bodyPr>
      <a:lstStyle>
        <a:defPPr marL="252000" indent="-252000" algn="l" defTabSz="1008044">
          <a:spcAft>
            <a:spcPts val="600"/>
          </a:spcAft>
          <a:buClr>
            <a:srgbClr val="ED1A3B"/>
          </a:buClr>
          <a:buSzPct val="80000"/>
          <a:buFont typeface="Wingdings 3" panose="05040102010807070707" pitchFamily="18" charset="2"/>
          <a:buChar char="u"/>
          <a:defRPr sz="1400" dirty="0" err="1" smtClean="0">
            <a:sym typeface="Arial"/>
          </a:defRPr>
        </a:defPPr>
      </a:lstStyle>
    </a:txDef>
  </a:objectDefaults>
  <a:extraClrSchemeLst>
    <a:extraClrScheme>
      <a:clrScheme name="BDO 2017">
        <a:dk1>
          <a:srgbClr val="404040"/>
        </a:dk1>
        <a:lt1>
          <a:srgbClr val="FFFFFF"/>
        </a:lt1>
        <a:dk2>
          <a:srgbClr val="ED1A3B"/>
        </a:dk2>
        <a:lt2>
          <a:srgbClr val="E7E7E7"/>
        </a:lt2>
        <a:accent1>
          <a:srgbClr val="218F8B"/>
        </a:accent1>
        <a:accent2>
          <a:srgbClr val="02A5E2"/>
        </a:accent2>
        <a:accent3>
          <a:srgbClr val="657C91"/>
        </a:accent3>
        <a:accent4>
          <a:srgbClr val="DF8639"/>
        </a:accent4>
        <a:accent5>
          <a:srgbClr val="98002E"/>
        </a:accent5>
        <a:accent6>
          <a:srgbClr val="D8DEE3"/>
        </a:accent6>
        <a:hlink>
          <a:srgbClr val="428BCA"/>
        </a:hlink>
        <a:folHlink>
          <a:srgbClr val="428BC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DO Red 100%">
      <a:srgbClr val="ED1A3B"/>
    </a:custClr>
    <a:custClr name="BDO Emerald 100%">
      <a:srgbClr val="218F8B"/>
    </a:custClr>
    <a:custClr name="BDO Ocean 100%">
      <a:srgbClr val="02A5E2"/>
    </a:custClr>
    <a:custClr name="BDO Slate 100%">
      <a:srgbClr val="657C91"/>
    </a:custClr>
    <a:custClr name="BDO Gold 100%">
      <a:srgbClr val="DF8639"/>
    </a:custClr>
    <a:custClr name="BDO Burgundy 100%">
      <a:srgbClr val="98002E"/>
    </a:custClr>
    <a:custClr name="BDO Charcoal 100%">
      <a:srgbClr val="404040"/>
    </a:custClr>
    <a:custClr name="Blank">
      <a:srgbClr val="FFFFFF"/>
    </a:custClr>
    <a:custClr name="Blank">
      <a:srgbClr val="FFFFFF"/>
    </a:custClr>
    <a:custClr name="Red 150%">
      <a:srgbClr val="941026"/>
    </a:custClr>
    <a:custClr name="BDO Red 75%">
      <a:srgbClr val="F1536C"/>
    </a:custClr>
    <a:custClr name="BDO Emerald 75%">
      <a:srgbClr val="58ABA8"/>
    </a:custClr>
    <a:custClr name="BDO Ocean 75%">
      <a:srgbClr val="41BBE9"/>
    </a:custClr>
    <a:custClr name="BDO Slate 75%">
      <a:srgbClr val="8B9CAC"/>
    </a:custClr>
    <a:custClr name="BDO Gold 75%">
      <a:srgbClr val="E7A46A"/>
    </a:custClr>
    <a:custClr name="BDO Burgundy 75%">
      <a:srgbClr val="B13F62"/>
    </a:custClr>
    <a:custClr name="BDO Charcoal 75%">
      <a:srgbClr val="6F6F6F"/>
    </a:custClr>
    <a:custClr name="Blank">
      <a:srgbClr val="FFFFFF"/>
    </a:custClr>
    <a:custClr name="Blank">
      <a:srgbClr val="FFFFFF"/>
    </a:custClr>
    <a:custClr name="Red 125%">
      <a:srgbClr val="B8142E"/>
    </a:custClr>
    <a:custClr name="BDO Red 50%">
      <a:srgbClr val="F68C9D"/>
    </a:custClr>
    <a:custClr name="BDO Emerald 50%">
      <a:srgbClr val="90C7C5"/>
    </a:custClr>
    <a:custClr name="BDO Ocean 50%">
      <a:srgbClr val="80D2F0"/>
    </a:custClr>
    <a:custClr name="BDO Slate 50%">
      <a:srgbClr val="B2BDC8"/>
    </a:custClr>
    <a:custClr name="BDO Gold 50%">
      <a:srgbClr val="EFC29C"/>
    </a:custClr>
    <a:custClr name="BDO Burgundy 50%">
      <a:srgbClr val="CB7F96"/>
    </a:custClr>
    <a:custClr name="BDO Charcoal 50%">
      <a:srgbClr val="9F9F9F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25%">
      <a:srgbClr val="FAC5CE"/>
    </a:custClr>
    <a:custClr name="BDO Emerald 25%">
      <a:srgbClr val="C7E3E2"/>
    </a:custClr>
    <a:custClr name="BDO Ocean 25%">
      <a:srgbClr val="BFE8F7"/>
    </a:custClr>
    <a:custClr name="BDO Slate 25%">
      <a:srgbClr val="D8DEE3"/>
    </a:custClr>
    <a:custClr name="BDO Gold 25%">
      <a:srgbClr val="F7E0CD"/>
    </a:custClr>
    <a:custClr name="BDO Burgundy 25%">
      <a:srgbClr val="E5BFCA"/>
    </a:custClr>
    <a:custClr name="BDO Charcoal 25%">
      <a:srgbClr val="CFCFC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Pale Charcoal">
      <a:srgbClr val="E7E7E7"/>
    </a:custClr>
  </a:custClrLst>
  <a:extLst>
    <a:ext uri="{05A4C25C-085E-4340-85A3-A5531E510DB2}">
      <thm15:themeFamily xmlns:thm15="http://schemas.microsoft.com/office/thememl/2012/main" name="01_Mastervorlage_A4-breit_SLATE" id="{3A2FDFA9-3B0C-4217-94E5-D0ED3B5B2F08}" vid="{60D9427D-6C89-49FC-8DC6-C54E8B921742}"/>
    </a:ext>
  </a:extLst>
</a:theme>
</file>

<file path=ppt/theme/theme2.xml><?xml version="1.0" encoding="utf-8"?>
<a:theme xmlns:a="http://schemas.openxmlformats.org/drawingml/2006/main" name="Anschreiben">
  <a:themeElements>
    <a:clrScheme name="Schriftformat BDO">
      <a:dk1>
        <a:srgbClr val="404040"/>
      </a:dk1>
      <a:lt1>
        <a:srgbClr val="FFFFFF"/>
      </a:lt1>
      <a:dk2>
        <a:srgbClr val="ED1A3B"/>
      </a:dk2>
      <a:lt2>
        <a:srgbClr val="218F8B"/>
      </a:lt2>
      <a:accent1>
        <a:srgbClr val="02A5E2"/>
      </a:accent1>
      <a:accent2>
        <a:srgbClr val="DF8639"/>
      </a:accent2>
      <a:accent3>
        <a:srgbClr val="98002E"/>
      </a:accent3>
      <a:accent4>
        <a:srgbClr val="657C91"/>
      </a:accent4>
      <a:accent5>
        <a:srgbClr val="E7E7E7"/>
      </a:accent5>
      <a:accent6>
        <a:srgbClr val="FFFFFF"/>
      </a:accent6>
      <a:hlink>
        <a:srgbClr val="02A5E2"/>
      </a:hlink>
      <a:folHlink>
        <a:srgbClr val="8FDFFE"/>
      </a:folHlink>
    </a:clrScheme>
    <a:fontScheme name="Schriftformat BDO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buClr>
            <a:srgbClr val="ED1A3B"/>
          </a:buClr>
          <a:buSzPct val="80000"/>
          <a:defRPr sz="1400" dirty="0" err="1" smtClean="0">
            <a:solidFill>
              <a:schemeClr val="tx1"/>
            </a:solidFill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40404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 anchorCtr="0">
        <a:noAutofit/>
      </a:bodyPr>
      <a:lstStyle>
        <a:defPPr marL="252000" indent="-252000" algn="l" defTabSz="1008044">
          <a:spcAft>
            <a:spcPts val="600"/>
          </a:spcAft>
          <a:buClr>
            <a:srgbClr val="ED1A3B"/>
          </a:buClr>
          <a:buSzPct val="80000"/>
          <a:buFont typeface="Wingdings 3" panose="05040102010807070707" pitchFamily="18" charset="2"/>
          <a:buChar char="u"/>
          <a:defRPr sz="1400" dirty="0" err="1" smtClean="0">
            <a:sym typeface="Arial"/>
          </a:defRPr>
        </a:defPPr>
      </a:lstStyle>
    </a:txDef>
  </a:objectDefaults>
  <a:extraClrSchemeLst>
    <a:extraClrScheme>
      <a:clrScheme name="BDO 2017">
        <a:dk1>
          <a:srgbClr val="404040"/>
        </a:dk1>
        <a:lt1>
          <a:srgbClr val="FFFFFF"/>
        </a:lt1>
        <a:dk2>
          <a:srgbClr val="ED1A3B"/>
        </a:dk2>
        <a:lt2>
          <a:srgbClr val="E7E7E7"/>
        </a:lt2>
        <a:accent1>
          <a:srgbClr val="218F8B"/>
        </a:accent1>
        <a:accent2>
          <a:srgbClr val="02A5E2"/>
        </a:accent2>
        <a:accent3>
          <a:srgbClr val="657C91"/>
        </a:accent3>
        <a:accent4>
          <a:srgbClr val="DF8639"/>
        </a:accent4>
        <a:accent5>
          <a:srgbClr val="98002E"/>
        </a:accent5>
        <a:accent6>
          <a:srgbClr val="D8DEE3"/>
        </a:accent6>
        <a:hlink>
          <a:srgbClr val="428BCA"/>
        </a:hlink>
        <a:folHlink>
          <a:srgbClr val="428BC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DO Red 100%">
      <a:srgbClr val="ED1A3B"/>
    </a:custClr>
    <a:custClr name="BDO Emerald 100%">
      <a:srgbClr val="218F8B"/>
    </a:custClr>
    <a:custClr name="BDO Ocean 100%">
      <a:srgbClr val="02A5E2"/>
    </a:custClr>
    <a:custClr name="BDO Slate 100%">
      <a:srgbClr val="657C91"/>
    </a:custClr>
    <a:custClr name="BDO Gold 100%">
      <a:srgbClr val="DF8639"/>
    </a:custClr>
    <a:custClr name="BDO Burgundy 100%">
      <a:srgbClr val="98002E"/>
    </a:custClr>
    <a:custClr name="BDO Charcoal 100%">
      <a:srgbClr val="404040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75%">
      <a:srgbClr val="F1536C"/>
    </a:custClr>
    <a:custClr name="BDO Emerald 75%">
      <a:srgbClr val="58ABA8"/>
    </a:custClr>
    <a:custClr name="BDO Ocean 75%">
      <a:srgbClr val="41BBE9"/>
    </a:custClr>
    <a:custClr name="BDO Slate 75%">
      <a:srgbClr val="8B9CAC"/>
    </a:custClr>
    <a:custClr name="BDO Gold 75%">
      <a:srgbClr val="E7A46A"/>
    </a:custClr>
    <a:custClr name="BDO Burgundy 75%">
      <a:srgbClr val="B13F62"/>
    </a:custClr>
    <a:custClr name="BDO Charcoal 75%">
      <a:srgbClr val="6F6F6F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50%">
      <a:srgbClr val="F68C9D"/>
    </a:custClr>
    <a:custClr name="BDO Emerald 50%">
      <a:srgbClr val="90C7C5"/>
    </a:custClr>
    <a:custClr name="BDO Ocean 50%">
      <a:srgbClr val="80D2F0"/>
    </a:custClr>
    <a:custClr name="BDO Slate 50%">
      <a:srgbClr val="B2BDC8"/>
    </a:custClr>
    <a:custClr name="BDO Gold 50%">
      <a:srgbClr val="EFC29C"/>
    </a:custClr>
    <a:custClr name="BDO Burgundy 50%">
      <a:srgbClr val="CB7F96"/>
    </a:custClr>
    <a:custClr name="BDO Charcoal 50%">
      <a:srgbClr val="9F9F9F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25%">
      <a:srgbClr val="FAC5CE"/>
    </a:custClr>
    <a:custClr name="BDO Emerald 25%">
      <a:srgbClr val="C7E3E2"/>
    </a:custClr>
    <a:custClr name="BDO Ocean 25%">
      <a:srgbClr val="BFE8F7"/>
    </a:custClr>
    <a:custClr name="BDO Slate 25%">
      <a:srgbClr val="D8DEE3"/>
    </a:custClr>
    <a:custClr name="BDO Gold 25%">
      <a:srgbClr val="F7E0CD"/>
    </a:custClr>
    <a:custClr name="BDO Burgundy 25%">
      <a:srgbClr val="E5BFCA"/>
    </a:custClr>
    <a:custClr name="BDO Charcoal 25%">
      <a:srgbClr val="CFCFC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Pale Charcoal">
      <a:srgbClr val="E7E7E7"/>
    </a:custClr>
    <a:custClr name="Body Text - BDO Charcoal">
      <a:srgbClr val="404040"/>
    </a:custClr>
  </a:custClrLst>
  <a:extLst>
    <a:ext uri="{05A4C25C-085E-4340-85A3-A5531E510DB2}">
      <thm15:themeFamily xmlns:thm15="http://schemas.microsoft.com/office/thememl/2012/main" name="01_Mastervorlage_A4-breit_SLATE" id="{3A2FDFA9-3B0C-4217-94E5-D0ED3B5B2F08}" vid="{2ACB38FF-0F2D-4730-A63E-DD50B6E49378}"/>
    </a:ext>
  </a:extLst>
</a:theme>
</file>

<file path=ppt/theme/theme3.xml><?xml version="1.0" encoding="utf-8"?>
<a:theme xmlns:a="http://schemas.openxmlformats.org/drawingml/2006/main" name="Text, Spalten, Prozesse, Team">
  <a:themeElements>
    <a:clrScheme name="Global Marketing Farbdesign">
      <a:dk1>
        <a:srgbClr val="404040"/>
      </a:dk1>
      <a:lt1>
        <a:srgbClr val="FFFFFF"/>
      </a:lt1>
      <a:dk2>
        <a:srgbClr val="ED1A3B"/>
      </a:dk2>
      <a:lt2>
        <a:srgbClr val="218F8B"/>
      </a:lt2>
      <a:accent1>
        <a:srgbClr val="02A5E2"/>
      </a:accent1>
      <a:accent2>
        <a:srgbClr val="DF8639"/>
      </a:accent2>
      <a:accent3>
        <a:srgbClr val="98002E"/>
      </a:accent3>
      <a:accent4>
        <a:srgbClr val="657C91"/>
      </a:accent4>
      <a:accent5>
        <a:srgbClr val="E7E7E7"/>
      </a:accent5>
      <a:accent6>
        <a:srgbClr val="FFFFFF"/>
      </a:accent6>
      <a:hlink>
        <a:srgbClr val="02A5E2"/>
      </a:hlink>
      <a:folHlink>
        <a:srgbClr val="8FDFFE"/>
      </a:folHlink>
    </a:clrScheme>
    <a:fontScheme name="Schriftformat BDO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buClr>
            <a:srgbClr val="ED1A3B"/>
          </a:buClr>
          <a:buSzPct val="80000"/>
          <a:defRPr sz="1400" dirty="0" err="1" smtClean="0">
            <a:solidFill>
              <a:schemeClr val="tx1"/>
            </a:solidFill>
            <a:latin typeface="Trebuchet MS" panose="020B06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40404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t" anchorCtr="0">
        <a:noAutofit/>
      </a:bodyPr>
      <a:lstStyle>
        <a:defPPr marL="252000" indent="-252000" algn="l" defTabSz="1008044">
          <a:spcAft>
            <a:spcPts val="600"/>
          </a:spcAft>
          <a:buClr>
            <a:srgbClr val="ED1A3B"/>
          </a:buClr>
          <a:buSzPct val="80000"/>
          <a:buFont typeface="Wingdings 3" panose="05040102010807070707" pitchFamily="18" charset="2"/>
          <a:buChar char="u"/>
          <a:defRPr sz="1400" dirty="0" err="1" smtClean="0">
            <a:sym typeface="Arial"/>
          </a:defRPr>
        </a:defPPr>
      </a:lstStyle>
    </a:txDef>
  </a:objectDefaults>
  <a:extraClrSchemeLst>
    <a:extraClrScheme>
      <a:clrScheme name="BDO 2017">
        <a:dk1>
          <a:srgbClr val="404040"/>
        </a:dk1>
        <a:lt1>
          <a:srgbClr val="FFFFFF"/>
        </a:lt1>
        <a:dk2>
          <a:srgbClr val="ED1A3B"/>
        </a:dk2>
        <a:lt2>
          <a:srgbClr val="E7E7E7"/>
        </a:lt2>
        <a:accent1>
          <a:srgbClr val="218F8B"/>
        </a:accent1>
        <a:accent2>
          <a:srgbClr val="02A5E2"/>
        </a:accent2>
        <a:accent3>
          <a:srgbClr val="657C91"/>
        </a:accent3>
        <a:accent4>
          <a:srgbClr val="DF8639"/>
        </a:accent4>
        <a:accent5>
          <a:srgbClr val="98002E"/>
        </a:accent5>
        <a:accent6>
          <a:srgbClr val="D8DEE3"/>
        </a:accent6>
        <a:hlink>
          <a:srgbClr val="428BCA"/>
        </a:hlink>
        <a:folHlink>
          <a:srgbClr val="428BC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DO Red 100%">
      <a:srgbClr val="ED1A3B"/>
    </a:custClr>
    <a:custClr name="BDO Emerald 100%">
      <a:srgbClr val="218F8B"/>
    </a:custClr>
    <a:custClr name="BDO Ocean 100%">
      <a:srgbClr val="02A5E2"/>
    </a:custClr>
    <a:custClr name="BDO Slate 100%">
      <a:srgbClr val="657C91"/>
    </a:custClr>
    <a:custClr name="BDO Gold 100%">
      <a:srgbClr val="DF8639"/>
    </a:custClr>
    <a:custClr name="BDO Burgundy 100%">
      <a:srgbClr val="98002E"/>
    </a:custClr>
    <a:custClr name="BDO Charcoal 100%">
      <a:srgbClr val="404040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75%">
      <a:srgbClr val="F1536C"/>
    </a:custClr>
    <a:custClr name="BDO Emerald 75%">
      <a:srgbClr val="58ABA8"/>
    </a:custClr>
    <a:custClr name="BDO Ocean 75%">
      <a:srgbClr val="41BBE9"/>
    </a:custClr>
    <a:custClr name="BDO Slate 75%">
      <a:srgbClr val="8B9CAC"/>
    </a:custClr>
    <a:custClr name="BDO Gold 75%">
      <a:srgbClr val="E7A46A"/>
    </a:custClr>
    <a:custClr name="BDO Burgundy 75%">
      <a:srgbClr val="B13F62"/>
    </a:custClr>
    <a:custClr name="BDO Charcoal 75%">
      <a:srgbClr val="6F6F6F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50%">
      <a:srgbClr val="F68C9D"/>
    </a:custClr>
    <a:custClr name="BDO Emerald 50%">
      <a:srgbClr val="90C7C5"/>
    </a:custClr>
    <a:custClr name="BDO Ocean 50%">
      <a:srgbClr val="80D2F0"/>
    </a:custClr>
    <a:custClr name="BDO Slate 50%">
      <a:srgbClr val="B2BDC8"/>
    </a:custClr>
    <a:custClr name="BDO Gold 50%">
      <a:srgbClr val="EFC29C"/>
    </a:custClr>
    <a:custClr name="BDO Burgundy 50%">
      <a:srgbClr val="CB7F96"/>
    </a:custClr>
    <a:custClr name="BDO Charcoal 50%">
      <a:srgbClr val="9F9F9F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25%">
      <a:srgbClr val="FAC5CE"/>
    </a:custClr>
    <a:custClr name="BDO Emerald 25%">
      <a:srgbClr val="C7E3E2"/>
    </a:custClr>
    <a:custClr name="BDO Ocean 25%">
      <a:srgbClr val="BFE8F7"/>
    </a:custClr>
    <a:custClr name="BDO Slate 25%">
      <a:srgbClr val="D8DEE3"/>
    </a:custClr>
    <a:custClr name="BDO Gold 25%">
      <a:srgbClr val="F7E0CD"/>
    </a:custClr>
    <a:custClr name="BDO Burgundy 25%">
      <a:srgbClr val="E5BFCA"/>
    </a:custClr>
    <a:custClr name="BDO Charcoal 25%">
      <a:srgbClr val="CFCFC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Pale Charcoal">
      <a:srgbClr val="E7E7E7"/>
    </a:custClr>
    <a:custClr name="Body Text - BDO Charcoal">
      <a:srgbClr val="404040"/>
    </a:custClr>
  </a:custClrLst>
  <a:extLst>
    <a:ext uri="{05A4C25C-085E-4340-85A3-A5531E510DB2}">
      <thm15:themeFamily xmlns:thm15="http://schemas.microsoft.com/office/thememl/2012/main" name="01_Mastervorlage_A4-breit_SLATE" id="{3A2FDFA9-3B0C-4217-94E5-D0ED3B5B2F08}" vid="{A6DC1623-A3A3-4528-B671-568FE2DEF8A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">
        <a:dk1>
          <a:sysClr val="windowText" lastClr="000000"/>
        </a:dk1>
        <a:lt1>
          <a:sysClr val="window" lastClr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DO Red 100%">
      <a:srgbClr val="ED1A3B"/>
    </a:custClr>
    <a:custClr name="BDO Emerald 100%">
      <a:srgbClr val="218F8B"/>
    </a:custClr>
    <a:custClr name="BDO Ocean 100%">
      <a:srgbClr val="02A5E2"/>
    </a:custClr>
    <a:custClr name="BDO Slate 100%">
      <a:srgbClr val="657C91"/>
    </a:custClr>
    <a:custClr name="BDO Gold 100%">
      <a:srgbClr val="DF8639"/>
    </a:custClr>
    <a:custClr name="BDO Burgundy 100%">
      <a:srgbClr val="98002E"/>
    </a:custClr>
    <a:custClr name="BDO Charcoal 100%">
      <a:srgbClr val="404040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75%">
      <a:srgbClr val="F1536C"/>
    </a:custClr>
    <a:custClr name="BDO Emerald 75%">
      <a:srgbClr val="58ABA8"/>
    </a:custClr>
    <a:custClr name="BDO Ocean 75%">
      <a:srgbClr val="41BBE9"/>
    </a:custClr>
    <a:custClr name="BDO Slate 75%">
      <a:srgbClr val="8B9CAC"/>
    </a:custClr>
    <a:custClr name="BDO Gold 75%">
      <a:srgbClr val="E7A46A"/>
    </a:custClr>
    <a:custClr name="BDO Burgundy 75%">
      <a:srgbClr val="B13F62"/>
    </a:custClr>
    <a:custClr name="BDO Charcoal 75%">
      <a:srgbClr val="6F6F6F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50%">
      <a:srgbClr val="F68C9D"/>
    </a:custClr>
    <a:custClr name="BDO Emerald 50%">
      <a:srgbClr val="90C7C5"/>
    </a:custClr>
    <a:custClr name="BDO Ocean 50%">
      <a:srgbClr val="80D2F0"/>
    </a:custClr>
    <a:custClr name="BDO Slate 50%">
      <a:srgbClr val="B2BDC8"/>
    </a:custClr>
    <a:custClr name="BDO Gold 50%">
      <a:srgbClr val="EFC29C"/>
    </a:custClr>
    <a:custClr name="BDO Burgundy 50%">
      <a:srgbClr val="CB7F96"/>
    </a:custClr>
    <a:custClr name="BDO Charcoal 50%">
      <a:srgbClr val="9F9F9F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25%">
      <a:srgbClr val="FAC5CE"/>
    </a:custClr>
    <a:custClr name="BDO Emerald 25%">
      <a:srgbClr val="C7E3E2"/>
    </a:custClr>
    <a:custClr name="BDO Ocean 25%">
      <a:srgbClr val="BFE8F7"/>
    </a:custClr>
    <a:custClr name="BDO Slate 25%">
      <a:srgbClr val="D8DEE3"/>
    </a:custClr>
    <a:custClr name="BDO Gold 25%">
      <a:srgbClr val="F7E0CD"/>
    </a:custClr>
    <a:custClr name="BDO Burgundy 25%">
      <a:srgbClr val="E5BFCA"/>
    </a:custClr>
    <a:custClr name="BDO Charcoal 25%">
      <a:srgbClr val="CFCFC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Pale Charcoal">
      <a:srgbClr val="E7E7E7"/>
    </a:custClr>
    <a:custClr name="Body Text - BDO Charcoal">
      <a:srgbClr val="404040"/>
    </a:custClr>
  </a:custClr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">
        <a:dk1>
          <a:sysClr val="windowText" lastClr="000000"/>
        </a:dk1>
        <a:lt1>
          <a:sysClr val="window" lastClr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9BBB59"/>
        </a:accent3>
        <a:accent4>
          <a:srgbClr val="8064A2"/>
        </a:accent4>
        <a:accent5>
          <a:srgbClr val="4BACC6"/>
        </a:accent5>
        <a:accent6>
          <a:srgbClr val="F79646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DO Red 100%">
      <a:srgbClr val="ED1A3B"/>
    </a:custClr>
    <a:custClr name="BDO Emerald 100%">
      <a:srgbClr val="218F8B"/>
    </a:custClr>
    <a:custClr name="BDO Ocean 100%">
      <a:srgbClr val="02A5E2"/>
    </a:custClr>
    <a:custClr name="BDO Slate 100%">
      <a:srgbClr val="657C91"/>
    </a:custClr>
    <a:custClr name="BDO Gold 100%">
      <a:srgbClr val="DF8639"/>
    </a:custClr>
    <a:custClr name="BDO Burgundy 100%">
      <a:srgbClr val="98002E"/>
    </a:custClr>
    <a:custClr name="BDO Charcoal 100%">
      <a:srgbClr val="404040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75%">
      <a:srgbClr val="F1536C"/>
    </a:custClr>
    <a:custClr name="BDO Emerald 75%">
      <a:srgbClr val="58ABA8"/>
    </a:custClr>
    <a:custClr name="BDO Ocean 75%">
      <a:srgbClr val="41BBE9"/>
    </a:custClr>
    <a:custClr name="BDO Slate 75%">
      <a:srgbClr val="8B9CAC"/>
    </a:custClr>
    <a:custClr name="BDO Gold 75%">
      <a:srgbClr val="E7A46A"/>
    </a:custClr>
    <a:custClr name="BDO Burgundy 75%">
      <a:srgbClr val="B13F62"/>
    </a:custClr>
    <a:custClr name="BDO Charcoal 75%">
      <a:srgbClr val="6F6F6F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50%">
      <a:srgbClr val="F68C9D"/>
    </a:custClr>
    <a:custClr name="BDO Emerald 50%">
      <a:srgbClr val="90C7C5"/>
    </a:custClr>
    <a:custClr name="BDO Ocean 50%">
      <a:srgbClr val="80D2F0"/>
    </a:custClr>
    <a:custClr name="BDO Slate 50%">
      <a:srgbClr val="B2BDC8"/>
    </a:custClr>
    <a:custClr name="BDO Gold 50%">
      <a:srgbClr val="EFC29C"/>
    </a:custClr>
    <a:custClr name="BDO Burgundy 50%">
      <a:srgbClr val="CB7F96"/>
    </a:custClr>
    <a:custClr name="BDO Charcoal 50%">
      <a:srgbClr val="9F9F9F"/>
    </a:custClr>
    <a:custClr name="Blank">
      <a:srgbClr val="FFFFFF"/>
    </a:custClr>
    <a:custClr name="Blank">
      <a:srgbClr val="FFFFFF"/>
    </a:custClr>
    <a:custClr name="Blank">
      <a:srgbClr val="FFFFFF"/>
    </a:custClr>
    <a:custClr name="BDO Red 25%">
      <a:srgbClr val="FAC5CE"/>
    </a:custClr>
    <a:custClr name="BDO Emerald 25%">
      <a:srgbClr val="C7E3E2"/>
    </a:custClr>
    <a:custClr name="BDO Ocean 25%">
      <a:srgbClr val="BFE8F7"/>
    </a:custClr>
    <a:custClr name="BDO Slate 25%">
      <a:srgbClr val="D8DEE3"/>
    </a:custClr>
    <a:custClr name="BDO Gold 25%">
      <a:srgbClr val="F7E0CD"/>
    </a:custClr>
    <a:custClr name="BDO Burgundy 25%">
      <a:srgbClr val="E5BFCA"/>
    </a:custClr>
    <a:custClr name="BDO Charcoal 25%">
      <a:srgbClr val="CFCFC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White ">
      <a:srgbClr val="FFFFFF"/>
    </a:custClr>
    <a:custClr name="Blank">
      <a:srgbClr val="FFFFFF"/>
    </a:custClr>
    <a:custClr name="Pale Charcoal">
      <a:srgbClr val="E7E7E7"/>
    </a:custClr>
    <a:custClr name="Body Text - BDO Charcoal">
      <a:srgbClr val="404040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6D9F7EC27B6B64DB653EE272A73984B" ma:contentTypeVersion="4" ma:contentTypeDescription="Ein neues Dokument erstellen." ma:contentTypeScope="" ma:versionID="6ed0b8327bedaeaa4f26aff0f9a13649">
  <xsd:schema xmlns:xsd="http://www.w3.org/2001/XMLSchema" xmlns:xs="http://www.w3.org/2001/XMLSchema" xmlns:p="http://schemas.microsoft.com/office/2006/metadata/properties" xmlns:ns2="c4abaae8-3681-432e-a1be-04a4f3bd5a1b" xmlns:ns3="310d0d10-c12e-41b3-b53c-d2083657e294" targetNamespace="http://schemas.microsoft.com/office/2006/metadata/properties" ma:root="true" ma:fieldsID="c61a57abe040ef03890c4f470ab3e9ab" ns2:_="" ns3:_="">
    <xsd:import namespace="c4abaae8-3681-432e-a1be-04a4f3bd5a1b"/>
    <xsd:import namespace="310d0d10-c12e-41b3-b53c-d2083657e29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abaae8-3681-432e-a1be-04a4f3bd5a1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0d0d10-c12e-41b3-b53c-d2083657e2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22A8F52-1AAF-484A-B299-28E5849907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4abaae8-3681-432e-a1be-04a4f3bd5a1b"/>
    <ds:schemaRef ds:uri="310d0d10-c12e-41b3-b53c-d2083657e2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D66CED8-9CC2-43DC-8C10-12546863AD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69CFA1-CDA4-4A63-8642-E7E5774E60EC}">
  <ds:schemaRefs>
    <ds:schemaRef ds:uri="http://purl.org/dc/elements/1.1/"/>
    <ds:schemaRef ds:uri="http://schemas.microsoft.com/office/2006/metadata/properties"/>
    <ds:schemaRef ds:uri="c4abaae8-3681-432e-a1be-04a4f3bd5a1b"/>
    <ds:schemaRef ds:uri="http://purl.org/dc/terms/"/>
    <ds:schemaRef ds:uri="http://schemas.microsoft.com/office/2006/documentManagement/types"/>
    <ds:schemaRef ds:uri="310d0d10-c12e-41b3-b53c-d2083657e294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26</Words>
  <Application>Microsoft Office PowerPoint</Application>
  <PresentationFormat>Benutzerdefiniert</PresentationFormat>
  <Paragraphs>264</Paragraphs>
  <Slides>31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40" baseType="lpstr">
      <vt:lpstr>Arial</vt:lpstr>
      <vt:lpstr>Calibri</vt:lpstr>
      <vt:lpstr>Trebuchet MS</vt:lpstr>
      <vt:lpstr>Wingdings</vt:lpstr>
      <vt:lpstr>Wingdings 3</vt:lpstr>
      <vt:lpstr>Cover/Back/Divider</vt:lpstr>
      <vt:lpstr>Anschreiben</vt:lpstr>
      <vt:lpstr>Text, Spalten, Prozesse, Team</vt:lpstr>
      <vt:lpstr>think-cell Folie</vt:lpstr>
      <vt:lpstr>PowerPoint-Präsentation</vt:lpstr>
      <vt:lpstr>Vorstellung</vt:lpstr>
      <vt:lpstr>PowerPoint-Präsentation</vt:lpstr>
      <vt:lpstr>PowerPoint-Präsentation</vt:lpstr>
      <vt:lpstr>Wie alles Begann - 1971</vt:lpstr>
      <vt:lpstr>Cyber Security Risiken</vt:lpstr>
      <vt:lpstr>Cyber Crime as a service</vt:lpstr>
      <vt:lpstr>Wer sind die Profiteure von Cyber Crime?</vt:lpstr>
      <vt:lpstr>PowerPoint-Präsentation</vt:lpstr>
      <vt:lpstr>Cyber crime in Österreich</vt:lpstr>
      <vt:lpstr>Erfolgreiche Angriffe aus der Vergangenheit</vt:lpstr>
      <vt:lpstr>Erfolgreiche Angriffe aus der Vergangenheit</vt:lpstr>
      <vt:lpstr>Erfolgreiche Angriffe aus der Vergangenheit</vt:lpstr>
      <vt:lpstr>  Erfolgreiche Angriffe aus der Vergangenheit</vt:lpstr>
      <vt:lpstr>  Erfolgreiche Angriffe aus der Vergangenheit</vt:lpstr>
      <vt:lpstr>Weitere beispiele aus dem Bereich KMU</vt:lpstr>
      <vt:lpstr>covid-19 – Katalysator für Cyberkriminalität</vt:lpstr>
      <vt:lpstr>Vergleich der Covid-19-Fälle zu registrierten Corona-Domains mit hohem Risk-Score (2020)</vt:lpstr>
      <vt:lpstr>Cyberbedrohungen aufgrund des Ukraine-Kriegs</vt:lpstr>
      <vt:lpstr>PowerPoint-Präsentation</vt:lpstr>
      <vt:lpstr>Phishing – der Angriff auf die Mitarbeiter</vt:lpstr>
      <vt:lpstr>Phishing – der Angriff auf die Mitarbeiter</vt:lpstr>
      <vt:lpstr>Phishing – der Angriff auf die Mitarbeiter</vt:lpstr>
      <vt:lpstr>PowerPoint-Präsentation</vt:lpstr>
      <vt:lpstr>Schwachstellen in Standardsoftware - 2021</vt:lpstr>
      <vt:lpstr>Schwachstellen in Standardsoftware</vt:lpstr>
      <vt:lpstr>PowerPoint-Präsentation</vt:lpstr>
      <vt:lpstr>Laufende Verbesserung &amp; Externe Treiber</vt:lpstr>
      <vt:lpstr>Netz– und informationssicherheitsrichtlinie NEU („NIS2-RL“)</vt:lpstr>
      <vt:lpstr>Netz– und informationssicherheitsrichtlinie NEU („NIS2-RL“)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eubauer Mario</dc:creator>
  <cp:lastModifiedBy>Neubauer Mario</cp:lastModifiedBy>
  <cp:revision>88</cp:revision>
  <dcterms:created xsi:type="dcterms:W3CDTF">2022-09-13T08:08:51Z</dcterms:created>
  <dcterms:modified xsi:type="dcterms:W3CDTF">2023-03-24T13:2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D9F7EC27B6B64DB653EE272A73984B</vt:lpwstr>
  </property>
</Properties>
</file>